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4.xml" ContentType="application/vnd.openxmlformats-officedocument.presentationml.notesSlid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5.xml" ContentType="application/vnd.openxmlformats-officedocument.presentationml.notesSlide+xml"/>
  <Override PartName="/ppt/charts/chart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rawings/drawing1.xml" ContentType="application/vnd.openxmlformats-officedocument.drawingml.chartshape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22.xml" ContentType="application/vnd.openxmlformats-officedocument.drawingml.chart+xml"/>
  <Override PartName="/ppt/drawings/drawing2.xml" ContentType="application/vnd.openxmlformats-officedocument.drawingml.chartshapes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93" r:id="rId2"/>
    <p:sldId id="257" r:id="rId3"/>
    <p:sldId id="1017" r:id="rId4"/>
    <p:sldId id="1019" r:id="rId5"/>
    <p:sldId id="1020" r:id="rId6"/>
    <p:sldId id="1021" r:id="rId7"/>
    <p:sldId id="1022" r:id="rId8"/>
    <p:sldId id="1018" r:id="rId9"/>
    <p:sldId id="1023" r:id="rId10"/>
    <p:sldId id="1024" r:id="rId11"/>
    <p:sldId id="1025" r:id="rId12"/>
    <p:sldId id="1026" r:id="rId13"/>
    <p:sldId id="1028" r:id="rId14"/>
    <p:sldId id="1027" r:id="rId15"/>
    <p:sldId id="1029" r:id="rId16"/>
    <p:sldId id="1030" r:id="rId17"/>
    <p:sldId id="1031" r:id="rId18"/>
    <p:sldId id="1032" r:id="rId19"/>
    <p:sldId id="1033" r:id="rId20"/>
    <p:sldId id="1034" r:id="rId21"/>
    <p:sldId id="1035" r:id="rId22"/>
    <p:sldId id="1036" r:id="rId23"/>
    <p:sldId id="1037" r:id="rId24"/>
    <p:sldId id="1038" r:id="rId25"/>
    <p:sldId id="1016" r:id="rId26"/>
  </p:sldIdLst>
  <p:sldSz cx="9144000" cy="6858000" type="screen4x3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lojko Arsic" initials="MA" lastIdx="5" clrIdx="0"/>
  <p:cmAuthor id="1" name="HP" initials="H" lastIdx="1" clrIdx="1">
    <p:extLst>
      <p:ext uri="{19B8F6BF-5375-455C-9EA6-DF929625EA0E}">
        <p15:presenceInfo xmlns:p15="http://schemas.microsoft.com/office/powerpoint/2012/main" userId="HP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99" autoAdjust="0"/>
    <p:restoredTop sz="85822" autoAdjust="0"/>
  </p:normalViewPr>
  <p:slideViewPr>
    <p:cSldViewPr>
      <p:cViewPr varScale="1">
        <p:scale>
          <a:sx n="97" d="100"/>
          <a:sy n="97" d="100"/>
        </p:scale>
        <p:origin x="2360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290902291567116E-2"/>
          <c:y val="2.7380687361723759E-2"/>
          <c:w val="0.88923205719974663"/>
          <c:h val="0.7775670984675302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kon T2-1'!$D$2</c:f>
              <c:strCache>
                <c:ptCount val="1"/>
                <c:pt idx="0">
                  <c:v>Recesij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val>
            <c:numRef>
              <c:f>'Grafikon T2-1'!$D$3:$D$87</c:f>
              <c:numCache>
                <c:formatCode>General</c:formatCode>
                <c:ptCount val="85"/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76" formatCode="0.0">
                  <c:v>100</c:v>
                </c:pt>
                <c:pt idx="77" formatCode="0.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78-42B1-B4CB-9EE962FE3E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-1349335936"/>
        <c:axId val="-1349325600"/>
      </c:barChart>
      <c:lineChart>
        <c:grouping val="stacked"/>
        <c:varyColors val="0"/>
        <c:ser>
          <c:idx val="0"/>
          <c:order val="0"/>
          <c:tx>
            <c:strRef>
              <c:f>'Grafikon T2-1'!$C$1</c:f>
              <c:strCache>
                <c:ptCount val="1"/>
                <c:pt idx="0">
                  <c:v>Desezonirani indeks BDP-a</c:v>
                </c:pt>
              </c:strCache>
            </c:strRef>
          </c:tx>
          <c:spPr>
            <a:ln w="25400">
              <a:solidFill>
                <a:schemeClr val="tx1"/>
              </a:solidFill>
              <a:prstDash val="solid"/>
            </a:ln>
          </c:spPr>
          <c:marker>
            <c:symbol val="none"/>
          </c:marker>
          <c:cat>
            <c:strRef>
              <c:f>'Grafikon T2-1'!$A$3:$A$102</c:f>
              <c:strCache>
                <c:ptCount val="100"/>
                <c:pt idx="0">
                  <c:v>Q1/01</c:v>
                </c:pt>
                <c:pt idx="1">
                  <c:v>Q2/01</c:v>
                </c:pt>
                <c:pt idx="2">
                  <c:v>Q3/01</c:v>
                </c:pt>
                <c:pt idx="3">
                  <c:v>Q4/01</c:v>
                </c:pt>
                <c:pt idx="4">
                  <c:v>Q1/02</c:v>
                </c:pt>
                <c:pt idx="5">
                  <c:v>Q2/02</c:v>
                </c:pt>
                <c:pt idx="6">
                  <c:v>Q3/02</c:v>
                </c:pt>
                <c:pt idx="7">
                  <c:v>Q4/02</c:v>
                </c:pt>
                <c:pt idx="8">
                  <c:v>Q1/03</c:v>
                </c:pt>
                <c:pt idx="9">
                  <c:v>Q2/03</c:v>
                </c:pt>
                <c:pt idx="10">
                  <c:v>Q3/03</c:v>
                </c:pt>
                <c:pt idx="11">
                  <c:v>Q4/03</c:v>
                </c:pt>
                <c:pt idx="12">
                  <c:v>Q1/04</c:v>
                </c:pt>
                <c:pt idx="13">
                  <c:v>Q2/04</c:v>
                </c:pt>
                <c:pt idx="14">
                  <c:v>Q3/04</c:v>
                </c:pt>
                <c:pt idx="15">
                  <c:v>Q4/04</c:v>
                </c:pt>
                <c:pt idx="16">
                  <c:v>Q1/05</c:v>
                </c:pt>
                <c:pt idx="17">
                  <c:v>Q2/05</c:v>
                </c:pt>
                <c:pt idx="18">
                  <c:v>Q3/05</c:v>
                </c:pt>
                <c:pt idx="19">
                  <c:v>Q4/05</c:v>
                </c:pt>
                <c:pt idx="20">
                  <c:v>Q1/06</c:v>
                </c:pt>
                <c:pt idx="21">
                  <c:v>Q2/06</c:v>
                </c:pt>
                <c:pt idx="22">
                  <c:v>Q3/06</c:v>
                </c:pt>
                <c:pt idx="23">
                  <c:v>Q4/06</c:v>
                </c:pt>
                <c:pt idx="24">
                  <c:v>Q1/07</c:v>
                </c:pt>
                <c:pt idx="25">
                  <c:v>Q2/07</c:v>
                </c:pt>
                <c:pt idx="26">
                  <c:v>Q3/07</c:v>
                </c:pt>
                <c:pt idx="27">
                  <c:v>Q4/07</c:v>
                </c:pt>
                <c:pt idx="28">
                  <c:v>Q1/08</c:v>
                </c:pt>
                <c:pt idx="29">
                  <c:v>Q2/08</c:v>
                </c:pt>
                <c:pt idx="30">
                  <c:v>Q3/08</c:v>
                </c:pt>
                <c:pt idx="31">
                  <c:v>Q4/08</c:v>
                </c:pt>
                <c:pt idx="32">
                  <c:v>Q1/09</c:v>
                </c:pt>
                <c:pt idx="33">
                  <c:v>Q2/09</c:v>
                </c:pt>
                <c:pt idx="34">
                  <c:v>Q3/09</c:v>
                </c:pt>
                <c:pt idx="35">
                  <c:v>Q4/09</c:v>
                </c:pt>
                <c:pt idx="36">
                  <c:v>Q1/10</c:v>
                </c:pt>
                <c:pt idx="37">
                  <c:v>Q2/10</c:v>
                </c:pt>
                <c:pt idx="38">
                  <c:v>Q3/10</c:v>
                </c:pt>
                <c:pt idx="39">
                  <c:v>Q4/10</c:v>
                </c:pt>
                <c:pt idx="40">
                  <c:v>Q1/11</c:v>
                </c:pt>
                <c:pt idx="41">
                  <c:v>Q2/11</c:v>
                </c:pt>
                <c:pt idx="42">
                  <c:v>Q3/11</c:v>
                </c:pt>
                <c:pt idx="43">
                  <c:v>Q4/11</c:v>
                </c:pt>
                <c:pt idx="44">
                  <c:v>Q1/12</c:v>
                </c:pt>
                <c:pt idx="45">
                  <c:v>Q2/12</c:v>
                </c:pt>
                <c:pt idx="46">
                  <c:v>Q3/12</c:v>
                </c:pt>
                <c:pt idx="47">
                  <c:v>Q4/12</c:v>
                </c:pt>
                <c:pt idx="48">
                  <c:v>Q1/13</c:v>
                </c:pt>
                <c:pt idx="49">
                  <c:v>Q2/13</c:v>
                </c:pt>
                <c:pt idx="50">
                  <c:v>Q3/13</c:v>
                </c:pt>
                <c:pt idx="51">
                  <c:v>Q4/13</c:v>
                </c:pt>
                <c:pt idx="52">
                  <c:v>Q1/14</c:v>
                </c:pt>
                <c:pt idx="53">
                  <c:v>Q2/14</c:v>
                </c:pt>
                <c:pt idx="54">
                  <c:v>Q3/14</c:v>
                </c:pt>
                <c:pt idx="55">
                  <c:v>Q4/14</c:v>
                </c:pt>
                <c:pt idx="56">
                  <c:v>Q1/15</c:v>
                </c:pt>
                <c:pt idx="57">
                  <c:v>Q2/15</c:v>
                </c:pt>
                <c:pt idx="58">
                  <c:v>Q3/15</c:v>
                </c:pt>
                <c:pt idx="59">
                  <c:v>Q4/15</c:v>
                </c:pt>
                <c:pt idx="60">
                  <c:v>Q1/16</c:v>
                </c:pt>
                <c:pt idx="61">
                  <c:v>Q2/16</c:v>
                </c:pt>
                <c:pt idx="62">
                  <c:v>Q3/16</c:v>
                </c:pt>
                <c:pt idx="63">
                  <c:v>Q4/16</c:v>
                </c:pt>
                <c:pt idx="64">
                  <c:v>Q1/17</c:v>
                </c:pt>
                <c:pt idx="65">
                  <c:v>Q2/17</c:v>
                </c:pt>
                <c:pt idx="66">
                  <c:v>Q3/17</c:v>
                </c:pt>
                <c:pt idx="67">
                  <c:v>Q4/17</c:v>
                </c:pt>
                <c:pt idx="68">
                  <c:v>Q1/18</c:v>
                </c:pt>
                <c:pt idx="69">
                  <c:v>Q2/18</c:v>
                </c:pt>
                <c:pt idx="70">
                  <c:v>Q3/18</c:v>
                </c:pt>
                <c:pt idx="71">
                  <c:v>Q4/18</c:v>
                </c:pt>
                <c:pt idx="72">
                  <c:v>Q1/19</c:v>
                </c:pt>
                <c:pt idx="73">
                  <c:v>Q2/19</c:v>
                </c:pt>
                <c:pt idx="74">
                  <c:v>Q3/19</c:v>
                </c:pt>
                <c:pt idx="75">
                  <c:v>Q4/19</c:v>
                </c:pt>
                <c:pt idx="76">
                  <c:v>Q1/20</c:v>
                </c:pt>
                <c:pt idx="77">
                  <c:v>Q2/20</c:v>
                </c:pt>
                <c:pt idx="78">
                  <c:v>Q3/20</c:v>
                </c:pt>
                <c:pt idx="79">
                  <c:v>Q4/20</c:v>
                </c:pt>
                <c:pt idx="80">
                  <c:v>Q1/21</c:v>
                </c:pt>
                <c:pt idx="81">
                  <c:v>Q2/21</c:v>
                </c:pt>
                <c:pt idx="82">
                  <c:v>Q3/21</c:v>
                </c:pt>
                <c:pt idx="83">
                  <c:v>Q4/21</c:v>
                </c:pt>
                <c:pt idx="84">
                  <c:v>Q1/22</c:v>
                </c:pt>
                <c:pt idx="85">
                  <c:v>Q2/22</c:v>
                </c:pt>
                <c:pt idx="86">
                  <c:v>Q3/22</c:v>
                </c:pt>
                <c:pt idx="87">
                  <c:v>Q4/22</c:v>
                </c:pt>
                <c:pt idx="88">
                  <c:v>Q1/23</c:v>
                </c:pt>
                <c:pt idx="89">
                  <c:v>Q2/23</c:v>
                </c:pt>
                <c:pt idx="90">
                  <c:v>Q3/23</c:v>
                </c:pt>
                <c:pt idx="91">
                  <c:v>Q4/24</c:v>
                </c:pt>
                <c:pt idx="92">
                  <c:v>Q1/24</c:v>
                </c:pt>
                <c:pt idx="93">
                  <c:v>Q2/24</c:v>
                </c:pt>
                <c:pt idx="94">
                  <c:v>Q3/24</c:v>
                </c:pt>
                <c:pt idx="95">
                  <c:v>Q4/24</c:v>
                </c:pt>
                <c:pt idx="96">
                  <c:v>Q1/25</c:v>
                </c:pt>
                <c:pt idx="97">
                  <c:v>Q2/25</c:v>
                </c:pt>
                <c:pt idx="98">
                  <c:v>Q3/25</c:v>
                </c:pt>
                <c:pt idx="99">
                  <c:v>Q4/25</c:v>
                </c:pt>
              </c:strCache>
            </c:strRef>
          </c:cat>
          <c:val>
            <c:numRef>
              <c:f>'Grafikon T2-1'!$C$3:$C$102</c:f>
              <c:numCache>
                <c:formatCode>General</c:formatCode>
                <c:ptCount val="100"/>
                <c:pt idx="0">
                  <c:v>66.511569011456345</c:v>
                </c:pt>
                <c:pt idx="1">
                  <c:v>66.312034304421985</c:v>
                </c:pt>
                <c:pt idx="2">
                  <c:v>67.505650921901577</c:v>
                </c:pt>
                <c:pt idx="3">
                  <c:v>69.260797845871025</c:v>
                </c:pt>
                <c:pt idx="4" formatCode="0.0">
                  <c:v>69.953405824329735</c:v>
                </c:pt>
                <c:pt idx="5" formatCode="0.0">
                  <c:v>71.142613723343345</c:v>
                </c:pt>
                <c:pt idx="6" formatCode="0.0">
                  <c:v>72.992321680150269</c:v>
                </c:pt>
                <c:pt idx="7" formatCode="0.0">
                  <c:v>73.065314001830416</c:v>
                </c:pt>
                <c:pt idx="8" formatCode="0.0">
                  <c:v>73.722901827846911</c:v>
                </c:pt>
                <c:pt idx="9" formatCode="0.0">
                  <c:v>75.19735986440385</c:v>
                </c:pt>
                <c:pt idx="10" formatCode="0.0">
                  <c:v>75.498149303861453</c:v>
                </c:pt>
                <c:pt idx="11" formatCode="0.0">
                  <c:v>75.72464375177303</c:v>
                </c:pt>
                <c:pt idx="12" formatCode="0.0">
                  <c:v>77.542035201815594</c:v>
                </c:pt>
                <c:pt idx="13" formatCode="0.0">
                  <c:v>78.705165729842832</c:v>
                </c:pt>
                <c:pt idx="14" formatCode="0.0">
                  <c:v>80.043153547250157</c:v>
                </c:pt>
                <c:pt idx="15" formatCode="0.0">
                  <c:v>84.205397531707163</c:v>
                </c:pt>
                <c:pt idx="16" formatCode="0.0">
                  <c:v>81.08979782303399</c:v>
                </c:pt>
                <c:pt idx="17" formatCode="0.0">
                  <c:v>84.009030544663219</c:v>
                </c:pt>
                <c:pt idx="18" formatCode="0.0">
                  <c:v>86.19326533882446</c:v>
                </c:pt>
                <c:pt idx="19" formatCode="0.0">
                  <c:v>88.003323910939784</c:v>
                </c:pt>
                <c:pt idx="20" formatCode="0.0">
                  <c:v>86.155254108810055</c:v>
                </c:pt>
                <c:pt idx="21" formatCode="0.0">
                  <c:v>87.619893428659836</c:v>
                </c:pt>
                <c:pt idx="22" formatCode="0.0">
                  <c:v>88.583712256375094</c:v>
                </c:pt>
                <c:pt idx="23" formatCode="0.0">
                  <c:v>90.178219076989848</c:v>
                </c:pt>
                <c:pt idx="24" formatCode="0.0">
                  <c:v>93.514813182838481</c:v>
                </c:pt>
                <c:pt idx="25" formatCode="0.0">
                  <c:v>94.449961314666851</c:v>
                </c:pt>
                <c:pt idx="26" formatCode="0.0">
                  <c:v>95.016661082554847</c:v>
                </c:pt>
                <c:pt idx="27" formatCode="0.0">
                  <c:v>97.202044287453603</c:v>
                </c:pt>
                <c:pt idx="28" formatCode="0.0">
                  <c:v>99.53489335035249</c:v>
                </c:pt>
                <c:pt idx="29" formatCode="0.0">
                  <c:v>101.02791675060779</c:v>
                </c:pt>
                <c:pt idx="30" formatCode="0.0">
                  <c:v>100.21969341660291</c:v>
                </c:pt>
                <c:pt idx="31" formatCode="0.0">
                  <c:v>99.217496482436871</c:v>
                </c:pt>
                <c:pt idx="32" formatCode="0.0">
                  <c:v>96.538624077411086</c:v>
                </c:pt>
                <c:pt idx="33" formatCode="0.0">
                  <c:v>96.442085453333675</c:v>
                </c:pt>
                <c:pt idx="34" formatCode="0.0">
                  <c:v>97.213622136960325</c:v>
                </c:pt>
                <c:pt idx="35" formatCode="0.0">
                  <c:v>97.116408514823377</c:v>
                </c:pt>
                <c:pt idx="36" formatCode="0.0">
                  <c:v>97.893339782941965</c:v>
                </c:pt>
                <c:pt idx="37" formatCode="0.0">
                  <c:v>97.893339782941965</c:v>
                </c:pt>
                <c:pt idx="38" formatCode="0.0">
                  <c:v>99.068059860337272</c:v>
                </c:pt>
                <c:pt idx="39" formatCode="0.0">
                  <c:v>98.671787620895941</c:v>
                </c:pt>
                <c:pt idx="40" formatCode="0.0">
                  <c:v>99.461161921863109</c:v>
                </c:pt>
                <c:pt idx="41" formatCode="0.0">
                  <c:v>98.267627978800746</c:v>
                </c:pt>
                <c:pt idx="42" formatCode="0.0">
                  <c:v>98.169360350821961</c:v>
                </c:pt>
                <c:pt idx="43" formatCode="0.0">
                  <c:v>97.874852269769491</c:v>
                </c:pt>
                <c:pt idx="44" formatCode="0.0">
                  <c:v>97.287603156150894</c:v>
                </c:pt>
                <c:pt idx="45" formatCode="0.0">
                  <c:v>98.844204806649316</c:v>
                </c:pt>
                <c:pt idx="46" formatCode="0.0">
                  <c:v>97.756918553776188</c:v>
                </c:pt>
                <c:pt idx="47" formatCode="0.0">
                  <c:v>98.147946227991284</c:v>
                </c:pt>
                <c:pt idx="48" formatCode="0.0">
                  <c:v>97.460910604395352</c:v>
                </c:pt>
                <c:pt idx="49" formatCode="0.0">
                  <c:v>97.753293336208515</c:v>
                </c:pt>
                <c:pt idx="50" formatCode="0.0">
                  <c:v>99.903865789605106</c:v>
                </c:pt>
                <c:pt idx="51" formatCode="0.0">
                  <c:v>98.705019400129856</c:v>
                </c:pt>
                <c:pt idx="52" formatCode="0.0">
                  <c:v>97.816674225528686</c:v>
                </c:pt>
                <c:pt idx="53" formatCode="0.0">
                  <c:v>96.838507483273403</c:v>
                </c:pt>
                <c:pt idx="54" formatCode="0.0">
                  <c:v>95.385929871024317</c:v>
                </c:pt>
                <c:pt idx="55" formatCode="0.0">
                  <c:v>96.721332889218658</c:v>
                </c:pt>
                <c:pt idx="56" formatCode="0.0">
                  <c:v>97.785267551000047</c:v>
                </c:pt>
                <c:pt idx="57" formatCode="0.0">
                  <c:v>97.883052818551036</c:v>
                </c:pt>
                <c:pt idx="58" formatCode="0.0">
                  <c:v>97.589403660095371</c:v>
                </c:pt>
                <c:pt idx="59" formatCode="0.0">
                  <c:v>98.467708293036253</c:v>
                </c:pt>
                <c:pt idx="60" formatCode="0.0">
                  <c:v>99.846256209138772</c:v>
                </c:pt>
                <c:pt idx="61" formatCode="0.0">
                  <c:v>100.64502625881187</c:v>
                </c:pt>
                <c:pt idx="62" formatCode="0.0">
                  <c:v>101.24889641636474</c:v>
                </c:pt>
                <c:pt idx="63" formatCode="0.0">
                  <c:v>101.35014531278111</c:v>
                </c:pt>
                <c:pt idx="64" formatCode="0.0">
                  <c:v>102.05959632997057</c:v>
                </c:pt>
                <c:pt idx="65" formatCode="0.0">
                  <c:v>102.56989431162043</c:v>
                </c:pt>
                <c:pt idx="66" formatCode="0.0">
                  <c:v>103.59559325473661</c:v>
                </c:pt>
                <c:pt idx="67" formatCode="0.0">
                  <c:v>104.1135712210103</c:v>
                </c:pt>
                <c:pt idx="68" formatCode="0.0">
                  <c:v>106.92463764397759</c:v>
                </c:pt>
                <c:pt idx="69" formatCode="0.0">
                  <c:v>108.10080865806133</c:v>
                </c:pt>
                <c:pt idx="70" formatCode="0.0">
                  <c:v>108.10080865806133</c:v>
                </c:pt>
                <c:pt idx="71" formatCode="0.0">
                  <c:v>107.99270784940327</c:v>
                </c:pt>
                <c:pt idx="72" formatCode="0.0">
                  <c:v>109.93657659069254</c:v>
                </c:pt>
                <c:pt idx="73" formatCode="0.0">
                  <c:v>111.69556181614362</c:v>
                </c:pt>
                <c:pt idx="74" formatCode="0.0">
                  <c:v>114.26455973791492</c:v>
                </c:pt>
                <c:pt idx="75">
                  <c:v>115.86426357424573</c:v>
                </c:pt>
                <c:pt idx="76">
                  <c:v>116.21185636496844</c:v>
                </c:pt>
                <c:pt idx="77">
                  <c:v>104.00961144664676</c:v>
                </c:pt>
                <c:pt idx="78" formatCode="0.0">
                  <c:v>112.85042841961173</c:v>
                </c:pt>
                <c:pt idx="79">
                  <c:v>114.76888570274515</c:v>
                </c:pt>
                <c:pt idx="80">
                  <c:v>118.21195227382751</c:v>
                </c:pt>
                <c:pt idx="81">
                  <c:v>119.39407179656578</c:v>
                </c:pt>
                <c:pt idx="82">
                  <c:v>122.37892359147993</c:v>
                </c:pt>
                <c:pt idx="83">
                  <c:v>123.84747067457769</c:v>
                </c:pt>
                <c:pt idx="84">
                  <c:v>123.97131814525224</c:v>
                </c:pt>
                <c:pt idx="85">
                  <c:v>124.5911747359785</c:v>
                </c:pt>
                <c:pt idx="86">
                  <c:v>123.71903651282665</c:v>
                </c:pt>
                <c:pt idx="87">
                  <c:v>124.83250784144211</c:v>
                </c:pt>
                <c:pt idx="88">
                  <c:v>126.70499545906372</c:v>
                </c:pt>
                <c:pt idx="89">
                  <c:v>127.97204541365437</c:v>
                </c:pt>
                <c:pt idx="90">
                  <c:v>129.76365404944551</c:v>
                </c:pt>
                <c:pt idx="91">
                  <c:v>131.19105424398941</c:v>
                </c:pt>
                <c:pt idx="92">
                  <c:v>132.24058267794132</c:v>
                </c:pt>
                <c:pt idx="93">
                  <c:v>133.69522908739867</c:v>
                </c:pt>
                <c:pt idx="94">
                  <c:v>134.49740046192306</c:v>
                </c:pt>
                <c:pt idx="95">
                  <c:v>135.70787706608039</c:v>
                </c:pt>
                <c:pt idx="96">
                  <c:v>134.62221404955176</c:v>
                </c:pt>
                <c:pt idx="97">
                  <c:v>136.37230283219591</c:v>
                </c:pt>
                <c:pt idx="98">
                  <c:v>137.32690895202128</c:v>
                </c:pt>
                <c:pt idx="99">
                  <c:v>138.70017804154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78-42B1-B4CB-9EE962FE3E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349323968"/>
        <c:axId val="-1349332128"/>
      </c:lineChart>
      <c:catAx>
        <c:axId val="-1349323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808080"/>
            </a:solidFill>
            <a:prstDash val="solid"/>
          </a:ln>
        </c:spPr>
        <c:txPr>
          <a:bodyPr rot="-2700000" vert="horz"/>
          <a:lstStyle/>
          <a:p>
            <a:pPr>
              <a:defRPr sz="600"/>
            </a:pPr>
            <a:endParaRPr lang="en-US"/>
          </a:p>
        </c:txPr>
        <c:crossAx val="-1349332128"/>
        <c:crosses val="autoZero"/>
        <c:auto val="1"/>
        <c:lblAlgn val="ctr"/>
        <c:lblOffset val="100"/>
        <c:tickLblSkip val="3"/>
        <c:tickMarkSkip val="1"/>
        <c:noMultiLvlLbl val="0"/>
      </c:catAx>
      <c:valAx>
        <c:axId val="-1349332128"/>
        <c:scaling>
          <c:orientation val="minMax"/>
          <c:max val="140"/>
          <c:min val="6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low"/>
        <c:spPr>
          <a:ln w="3175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-1349323968"/>
        <c:crosses val="autoZero"/>
        <c:crossBetween val="between"/>
      </c:valAx>
      <c:catAx>
        <c:axId val="-1349335936"/>
        <c:scaling>
          <c:orientation val="minMax"/>
        </c:scaling>
        <c:delete val="1"/>
        <c:axPos val="b"/>
        <c:majorTickMark val="out"/>
        <c:minorTickMark val="none"/>
        <c:tickLblPos val="nextTo"/>
        <c:crossAx val="-1349325600"/>
        <c:crosses val="autoZero"/>
        <c:auto val="1"/>
        <c:lblAlgn val="ctr"/>
        <c:lblOffset val="100"/>
        <c:noMultiLvlLbl val="0"/>
      </c:catAx>
      <c:valAx>
        <c:axId val="-1349325600"/>
        <c:scaling>
          <c:orientation val="minMax"/>
          <c:max val="100"/>
        </c:scaling>
        <c:delete val="0"/>
        <c:axPos val="r"/>
        <c:numFmt formatCode="General" sourceLinked="1"/>
        <c:majorTickMark val="none"/>
        <c:minorTickMark val="none"/>
        <c:tickLblPos val="none"/>
        <c:crossAx val="-1349335936"/>
        <c:crosses val="max"/>
        <c:crossBetween val="between"/>
      </c:valAx>
      <c:spPr>
        <a:solidFill>
          <a:srgbClr val="FFFFFF"/>
        </a:solidFill>
        <a:ln w="25400">
          <a:noFill/>
        </a:ln>
      </c:spPr>
    </c:plotArea>
    <c:legend>
      <c:legendPos val="b"/>
      <c:layout>
        <c:manualLayout>
          <c:xMode val="edge"/>
          <c:yMode val="edge"/>
          <c:x val="0.24247262195673816"/>
          <c:y val="0.91057531115062229"/>
          <c:w val="0.49781337677617882"/>
          <c:h val="6.7919312505291679E-2"/>
        </c:manualLayout>
      </c:layout>
      <c:overlay val="0"/>
      <c:txPr>
        <a:bodyPr/>
        <a:lstStyle/>
        <a:p>
          <a:pPr>
            <a:defRPr sz="600"/>
          </a:pPr>
          <a:endParaRPr lang="en-US"/>
        </a:p>
      </c:txPr>
    </c:legend>
    <c:plotVisOnly val="0"/>
    <c:dispBlanksAs val="zero"/>
    <c:showDLblsOverMax val="0"/>
  </c:chart>
  <c:spPr>
    <a:solidFill>
      <a:srgbClr val="FFFFFF"/>
    </a:solidFill>
    <a:ln w="3175">
      <a:solidFill>
        <a:srgbClr val="80808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 panose="020B0604020202020204" pitchFamily="34" charset="0"/>
          <a:ea typeface="Times New Roman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6'!$S$6:$S$25</c:f>
              <c:strCache>
                <c:ptCount val="20"/>
                <c:pt idx="0">
                  <c:v>Ukupno</c:v>
                </c:pt>
                <c:pt idx="1">
                  <c:v>Polj</c:v>
                </c:pt>
                <c:pt idx="2">
                  <c:v>rudarstvo</c:v>
                </c:pt>
                <c:pt idx="3">
                  <c:v>Prerađ ind.</c:v>
                </c:pt>
                <c:pt idx="4">
                  <c:v>Elekt.</c:v>
                </c:pt>
                <c:pt idx="5">
                  <c:v>Vodopriv.</c:v>
                </c:pt>
                <c:pt idx="6">
                  <c:v>Građ.</c:v>
                </c:pt>
                <c:pt idx="7">
                  <c:v>Trg.</c:v>
                </c:pt>
                <c:pt idx="8">
                  <c:v>Saobrać.</c:v>
                </c:pt>
                <c:pt idx="9">
                  <c:v>Smeštaj isharana</c:v>
                </c:pt>
                <c:pt idx="10">
                  <c:v>IT</c:v>
                </c:pt>
                <c:pt idx="11">
                  <c:v>Finan.</c:v>
                </c:pt>
                <c:pt idx="12">
                  <c:v>Nekretnine</c:v>
                </c:pt>
                <c:pt idx="13">
                  <c:v>Stručne nauč.</c:v>
                </c:pt>
                <c:pt idx="14">
                  <c:v>Adm, usluga</c:v>
                </c:pt>
                <c:pt idx="15">
                  <c:v>Državna uprava</c:v>
                </c:pt>
                <c:pt idx="16">
                  <c:v>Obrazov</c:v>
                </c:pt>
                <c:pt idx="17">
                  <c:v>Zdravstvo</c:v>
                </c:pt>
                <c:pt idx="18">
                  <c:v>Umetnost, rekr.</c:v>
                </c:pt>
                <c:pt idx="19">
                  <c:v>Ostale usluge</c:v>
                </c:pt>
              </c:strCache>
            </c:strRef>
          </c:cat>
          <c:val>
            <c:numRef>
              <c:f>'G6'!$T$6:$T$25</c:f>
              <c:numCache>
                <c:formatCode>0.0</c:formatCode>
                <c:ptCount val="20"/>
                <c:pt idx="0">
                  <c:v>55.83242626497676</c:v>
                </c:pt>
                <c:pt idx="1">
                  <c:v>50.838008521304772</c:v>
                </c:pt>
                <c:pt idx="2">
                  <c:v>27.539522207161795</c:v>
                </c:pt>
                <c:pt idx="3">
                  <c:v>70.16509736993487</c:v>
                </c:pt>
                <c:pt idx="4">
                  <c:v>5.4739582368789286</c:v>
                </c:pt>
                <c:pt idx="5">
                  <c:v>47.044382829400973</c:v>
                </c:pt>
                <c:pt idx="6">
                  <c:v>59.297959988764688</c:v>
                </c:pt>
                <c:pt idx="7">
                  <c:v>67.518897277860646</c:v>
                </c:pt>
                <c:pt idx="8">
                  <c:v>38.347128506840733</c:v>
                </c:pt>
                <c:pt idx="9">
                  <c:v>73.293488414796485</c:v>
                </c:pt>
                <c:pt idx="10">
                  <c:v>192.8930313105983</c:v>
                </c:pt>
                <c:pt idx="11">
                  <c:v>15.826672532986009</c:v>
                </c:pt>
                <c:pt idx="12">
                  <c:v>36.248563010116612</c:v>
                </c:pt>
                <c:pt idx="13">
                  <c:v>93.519387023631168</c:v>
                </c:pt>
                <c:pt idx="14">
                  <c:v>79.893444658237939</c:v>
                </c:pt>
                <c:pt idx="15">
                  <c:v>22.470356311503679</c:v>
                </c:pt>
                <c:pt idx="16">
                  <c:v>25.341725713729033</c:v>
                </c:pt>
                <c:pt idx="17">
                  <c:v>37.113357711129424</c:v>
                </c:pt>
                <c:pt idx="18">
                  <c:v>31.81402302899599</c:v>
                </c:pt>
                <c:pt idx="19">
                  <c:v>45.752508669349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61-4709-B8B6-65C130738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213629216"/>
        <c:axId val="-1213641184"/>
      </c:barChart>
      <c:catAx>
        <c:axId val="-1213629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1184"/>
        <c:crosses val="autoZero"/>
        <c:auto val="1"/>
        <c:lblAlgn val="ctr"/>
        <c:lblOffset val="100"/>
        <c:noMultiLvlLbl val="0"/>
      </c:catAx>
      <c:valAx>
        <c:axId val="-1213641184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29216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G10'!$H$21</c:f>
              <c:strCache>
                <c:ptCount val="1"/>
                <c:pt idx="0">
                  <c:v>Produktivnost rada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10'!$G$22:$G$3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'G10'!$H$22:$H$30</c:f>
              <c:numCache>
                <c:formatCode>0.0</c:formatCode>
                <c:ptCount val="9"/>
                <c:pt idx="0">
                  <c:v>100</c:v>
                </c:pt>
                <c:pt idx="1">
                  <c:v>101.15363309762606</c:v>
                </c:pt>
                <c:pt idx="2">
                  <c:v>103.55103101128981</c:v>
                </c:pt>
                <c:pt idx="3">
                  <c:v>100.74008803624213</c:v>
                </c:pt>
                <c:pt idx="4">
                  <c:v>105.57745771112732</c:v>
                </c:pt>
                <c:pt idx="5">
                  <c:v>106.35923247559785</c:v>
                </c:pt>
                <c:pt idx="6">
                  <c:v>108.7765078394046</c:v>
                </c:pt>
                <c:pt idx="7">
                  <c:v>112.40583413473698</c:v>
                </c:pt>
                <c:pt idx="8">
                  <c:v>114.44603765563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6A-4117-A832-C002BACE77D3}"/>
            </c:ext>
          </c:extLst>
        </c:ser>
        <c:ser>
          <c:idx val="1"/>
          <c:order val="1"/>
          <c:tx>
            <c:strRef>
              <c:f>'G10'!$I$21</c:f>
              <c:strCache>
                <c:ptCount val="1"/>
                <c:pt idx="0">
                  <c:v>JT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10'!$G$22:$G$3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'G10'!$I$22:$I$30</c:f>
              <c:numCache>
                <c:formatCode>0.0</c:formatCode>
                <c:ptCount val="9"/>
                <c:pt idx="0">
                  <c:v>100</c:v>
                </c:pt>
                <c:pt idx="1">
                  <c:v>103.20934286091415</c:v>
                </c:pt>
                <c:pt idx="2">
                  <c:v>109.3895433910746</c:v>
                </c:pt>
                <c:pt idx="3">
                  <c:v>121.09985247988946</c:v>
                </c:pt>
                <c:pt idx="4">
                  <c:v>121.79104335304328</c:v>
                </c:pt>
                <c:pt idx="5">
                  <c:v>122.95106906301407</c:v>
                </c:pt>
                <c:pt idx="6">
                  <c:v>123.10405211269203</c:v>
                </c:pt>
                <c:pt idx="7">
                  <c:v>129.97007167038612</c:v>
                </c:pt>
                <c:pt idx="8">
                  <c:v>137.03479505417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46A-4117-A832-C002BACE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13637376"/>
        <c:axId val="-1213639008"/>
      </c:lineChart>
      <c:catAx>
        <c:axId val="-1213637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9008"/>
        <c:crosses val="autoZero"/>
        <c:auto val="1"/>
        <c:lblAlgn val="ctr"/>
        <c:lblOffset val="100"/>
        <c:noMultiLvlLbl val="0"/>
      </c:catAx>
      <c:valAx>
        <c:axId val="-1213639008"/>
        <c:scaling>
          <c:orientation val="minMax"/>
          <c:min val="6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7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915061923699953"/>
          <c:y val="7.7664881889763768E-2"/>
          <c:w val="0.8230882382305762"/>
          <c:h val="0.677438334710923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4-2'!$A$8</c:f>
              <c:strCache>
                <c:ptCount val="1"/>
                <c:pt idx="0">
                  <c:v>Tekući deficit/BDP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1"/>
              <c:layout>
                <c:manualLayout>
                  <c:x val="-5.9147886686577974E-3"/>
                  <c:y val="8.725181761099074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52A-4348-9CE4-FF53DB3AD6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4-2'!$B$3:$O$3</c:f>
              <c:numCache>
                <c:formatCode>General</c:formatCod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</c:numCache>
            </c:numRef>
          </c:cat>
          <c:val>
            <c:numRef>
              <c:f>'T4-2'!$B$8:$O$8</c:f>
              <c:numCache>
                <c:formatCode>#,##0.0</c:formatCode>
                <c:ptCount val="14"/>
                <c:pt idx="0">
                  <c:v>-10.468202757627013</c:v>
                </c:pt>
                <c:pt idx="1">
                  <c:v>-5.5250163674932438</c:v>
                </c:pt>
                <c:pt idx="2">
                  <c:v>-5.3619369519999278</c:v>
                </c:pt>
                <c:pt idx="3">
                  <c:v>-3.3151023380865468</c:v>
                </c:pt>
                <c:pt idx="4">
                  <c:v>-2.8162747061420634</c:v>
                </c:pt>
                <c:pt idx="5">
                  <c:v>-5.0206772992580122</c:v>
                </c:pt>
                <c:pt idx="6">
                  <c:v>-4.6434591887899872</c:v>
                </c:pt>
                <c:pt idx="7">
                  <c:v>-6.5703339993828784</c:v>
                </c:pt>
                <c:pt idx="8">
                  <c:v>-3.9343224030318118</c:v>
                </c:pt>
                <c:pt idx="9">
                  <c:v>-4.0507208142250102</c:v>
                </c:pt>
                <c:pt idx="10">
                  <c:v>-6.5543832031684</c:v>
                </c:pt>
                <c:pt idx="11">
                  <c:v>-2.3984174545514509</c:v>
                </c:pt>
                <c:pt idx="12">
                  <c:v>-4.5490787555475416</c:v>
                </c:pt>
                <c:pt idx="13">
                  <c:v>-4.8515699019370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2A-4348-9CE4-FF53DB3AD6AA}"/>
            </c:ext>
          </c:extLst>
        </c:ser>
        <c:ser>
          <c:idx val="1"/>
          <c:order val="1"/>
          <c:tx>
            <c:strRef>
              <c:f>'T4-2'!$A$9</c:f>
              <c:strCache>
                <c:ptCount val="1"/>
                <c:pt idx="0">
                  <c:v>Spoljnotrgovinski deficit/BDP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2"/>
              <c:layout>
                <c:manualLayout>
                  <c:x val="1.0373093209021749E-2"/>
                  <c:y val="-1.550924546421736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F00-4BD8-9F0B-240FE36F616E}"/>
                </c:ext>
              </c:extLst>
            </c:dLbl>
            <c:dLbl>
              <c:idx val="13"/>
              <c:layout>
                <c:manualLayout>
                  <c:x val="1.4522330492630449E-2"/>
                  <c:y val="-1.861109455706083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85C-5D4E-B750-5A44D14945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4-2'!$B$3:$O$3</c:f>
              <c:numCache>
                <c:formatCode>General</c:formatCode>
                <c:ptCount val="1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</c:numCache>
            </c:numRef>
          </c:cat>
          <c:val>
            <c:numRef>
              <c:f>'T4-2'!$B$9:$O$9</c:f>
              <c:numCache>
                <c:formatCode>#,##0.0</c:formatCode>
                <c:ptCount val="14"/>
                <c:pt idx="0">
                  <c:v>-15.747308527743506</c:v>
                </c:pt>
                <c:pt idx="1">
                  <c:v>-10.124866583058886</c:v>
                </c:pt>
                <c:pt idx="2">
                  <c:v>-9.8483787135948049</c:v>
                </c:pt>
                <c:pt idx="3">
                  <c:v>-7.8332196261178959</c:v>
                </c:pt>
                <c:pt idx="4">
                  <c:v>-5.7953431632475256</c:v>
                </c:pt>
                <c:pt idx="5">
                  <c:v>-7.4211859076964162</c:v>
                </c:pt>
                <c:pt idx="6">
                  <c:v>-9.1489116879779981</c:v>
                </c:pt>
                <c:pt idx="7">
                  <c:v>-9.5858572399195907</c:v>
                </c:pt>
                <c:pt idx="8">
                  <c:v>-8.3613105135421826</c:v>
                </c:pt>
                <c:pt idx="9">
                  <c:v>-8.2624662807452669</c:v>
                </c:pt>
                <c:pt idx="10">
                  <c:v>-11.101679318630913</c:v>
                </c:pt>
                <c:pt idx="11">
                  <c:v>-4.6869012336170659</c:v>
                </c:pt>
                <c:pt idx="12">
                  <c:v>-4.7438280934320352</c:v>
                </c:pt>
                <c:pt idx="13">
                  <c:v>-4.6960710205210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52A-4348-9CE4-FF53DB3AD6A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1213643360"/>
        <c:axId val="-1213637920"/>
      </c:barChart>
      <c:catAx>
        <c:axId val="-1213643360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7920"/>
        <c:crossesAt val="0"/>
        <c:auto val="1"/>
        <c:lblAlgn val="ctr"/>
        <c:lblOffset val="100"/>
        <c:noMultiLvlLbl val="0"/>
      </c:catAx>
      <c:valAx>
        <c:axId val="-1213637920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u %</a:t>
                </a:r>
              </a:p>
            </c:rich>
          </c:tx>
          <c:layout>
            <c:manualLayout>
              <c:xMode val="edge"/>
              <c:yMode val="edge"/>
              <c:x val="1.4693193513471916E-2"/>
              <c:y val="0.371404094488188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3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389680600796236"/>
          <c:y val="0.90569740853658531"/>
          <c:w val="0.70534541672856932"/>
          <c:h val="9.43025914634146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000000"/>
      </a:solidFill>
    </a:ln>
    <a:effectLst/>
  </c:spPr>
  <c:txPr>
    <a:bodyPr rot="-2700000"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50217155266014"/>
          <c:y val="4.6692645053590158E-2"/>
          <c:w val="0.84167548859934849"/>
          <c:h val="0.62317198423230991"/>
        </c:manualLayout>
      </c:layout>
      <c:lineChart>
        <c:grouping val="standard"/>
        <c:varyColors val="0"/>
        <c:ser>
          <c:idx val="0"/>
          <c:order val="0"/>
          <c:tx>
            <c:strRef>
              <c:f>'T4-3'!$A$4</c:f>
              <c:strCache>
                <c:ptCount val="1"/>
                <c:pt idx="0">
                  <c:v>Desezonirani izvoz</c:v>
                </c:pt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pPr>
              <a:noFill/>
              <a:ln>
                <a:noFill/>
              </a:ln>
            </c:spPr>
          </c:marker>
          <c:cat>
            <c:multiLvlStrRef>
              <c:f>'T4-3'!$B$2:$AW$3</c:f>
              <c:multiLvlStrCache>
                <c:ptCount val="4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Q2</c:v>
                  </c:pt>
                  <c:pt idx="42">
                    <c:v>Q3</c:v>
                  </c:pt>
                  <c:pt idx="43">
                    <c:v>Q4</c:v>
                  </c:pt>
                  <c:pt idx="44">
                    <c:v>Q1</c:v>
                  </c:pt>
                  <c:pt idx="45">
                    <c:v>Q2</c:v>
                  </c:pt>
                  <c:pt idx="46">
                    <c:v>Q3</c:v>
                  </c:pt>
                  <c:pt idx="47">
                    <c:v>Q4</c:v>
                  </c:pt>
                </c:lvl>
                <c:lvl>
                  <c:pt idx="0">
                    <c:v>2014</c:v>
                  </c:pt>
                  <c:pt idx="4">
                    <c:v>2015</c:v>
                  </c:pt>
                  <c:pt idx="8">
                    <c:v>2016</c:v>
                  </c:pt>
                  <c:pt idx="12">
                    <c:v>2017</c:v>
                  </c:pt>
                  <c:pt idx="16">
                    <c:v>2018</c:v>
                  </c:pt>
                  <c:pt idx="20">
                    <c:v>2019</c:v>
                  </c:pt>
                  <c:pt idx="24">
                    <c:v>2020</c:v>
                  </c:pt>
                  <c:pt idx="28">
                    <c:v>2021</c:v>
                  </c:pt>
                  <c:pt idx="32">
                    <c:v>2022</c:v>
                  </c:pt>
                  <c:pt idx="36">
                    <c:v>2023</c:v>
                  </c:pt>
                  <c:pt idx="40">
                    <c:v>2024</c:v>
                  </c:pt>
                  <c:pt idx="44">
                    <c:v>2025</c:v>
                  </c:pt>
                </c:lvl>
              </c:multiLvlStrCache>
            </c:multiLvlStrRef>
          </c:cat>
          <c:val>
            <c:numRef>
              <c:f>'T4-3'!$B$4:$AW$4</c:f>
              <c:numCache>
                <c:formatCode>General</c:formatCode>
                <c:ptCount val="48"/>
                <c:pt idx="0">
                  <c:v>2.6650655099999998</c:v>
                </c:pt>
                <c:pt idx="1">
                  <c:v>2.6480188999999998</c:v>
                </c:pt>
                <c:pt idx="2">
                  <c:v>2.64502624</c:v>
                </c:pt>
                <c:pt idx="3">
                  <c:v>2.6815737099999994</c:v>
                </c:pt>
                <c:pt idx="4">
                  <c:v>2.7698627600000001</c:v>
                </c:pt>
                <c:pt idx="5">
                  <c:v>2.9031405399999999</c:v>
                </c:pt>
                <c:pt idx="6">
                  <c:v>2.8935217999999998</c:v>
                </c:pt>
                <c:pt idx="7">
                  <c:v>2.8782538500000001</c:v>
                </c:pt>
                <c:pt idx="8">
                  <c:v>3.1175578000000002</c:v>
                </c:pt>
                <c:pt idx="9">
                  <c:v>3.1569471999999994</c:v>
                </c:pt>
                <c:pt idx="10">
                  <c:v>3.1634191</c:v>
                </c:pt>
                <c:pt idx="11">
                  <c:v>3.3760585000000001</c:v>
                </c:pt>
                <c:pt idx="12">
                  <c:v>3.3957157000000002</c:v>
                </c:pt>
                <c:pt idx="13">
                  <c:v>3.5308663</c:v>
                </c:pt>
                <c:pt idx="14">
                  <c:v>3.5546373000000004</c:v>
                </c:pt>
                <c:pt idx="15">
                  <c:v>3.5566238000000001</c:v>
                </c:pt>
                <c:pt idx="16">
                  <c:v>3.6875561000000001</c:v>
                </c:pt>
                <c:pt idx="17">
                  <c:v>3.7375220000000002</c:v>
                </c:pt>
                <c:pt idx="18">
                  <c:v>3.8249884000000001</c:v>
                </c:pt>
                <c:pt idx="19">
                  <c:v>3.8593868999999996</c:v>
                </c:pt>
                <c:pt idx="20">
                  <c:v>3.9476558999999996</c:v>
                </c:pt>
                <c:pt idx="21">
                  <c:v>4.0683370000000005</c:v>
                </c:pt>
                <c:pt idx="22">
                  <c:v>4.1476113999999997</c:v>
                </c:pt>
                <c:pt idx="23">
                  <c:v>4.2435754000000001</c:v>
                </c:pt>
                <c:pt idx="24">
                  <c:v>4.1211652000000001</c:v>
                </c:pt>
                <c:pt idx="25">
                  <c:v>3.2692273599999999</c:v>
                </c:pt>
                <c:pt idx="26">
                  <c:v>4.1763148999999995</c:v>
                </c:pt>
                <c:pt idx="27">
                  <c:v>4.5771335999999998</c:v>
                </c:pt>
                <c:pt idx="28">
                  <c:v>4.7753791000000003</c:v>
                </c:pt>
                <c:pt idx="29">
                  <c:v>4.9266158000000004</c:v>
                </c:pt>
                <c:pt idx="30">
                  <c:v>5.4589013</c:v>
                </c:pt>
                <c:pt idx="31">
                  <c:v>5.8674516999999993</c:v>
                </c:pt>
                <c:pt idx="32">
                  <c:v>6.2524061999999994</c:v>
                </c:pt>
                <c:pt idx="33">
                  <c:v>6.6479236999999998</c:v>
                </c:pt>
                <c:pt idx="34">
                  <c:v>6.8996098000000003</c:v>
                </c:pt>
                <c:pt idx="35">
                  <c:v>7.1327577</c:v>
                </c:pt>
                <c:pt idx="36">
                  <c:v>7.1921612999999995</c:v>
                </c:pt>
                <c:pt idx="37">
                  <c:v>6.9310463000000002</c:v>
                </c:pt>
                <c:pt idx="38">
                  <c:v>6.8709637999999993</c:v>
                </c:pt>
                <c:pt idx="39">
                  <c:v>6.9775513</c:v>
                </c:pt>
                <c:pt idx="40">
                  <c:v>7.1776722000000008</c:v>
                </c:pt>
                <c:pt idx="41">
                  <c:v>7.3672925999999999</c:v>
                </c:pt>
                <c:pt idx="42">
                  <c:v>7.5921991000000002</c:v>
                </c:pt>
                <c:pt idx="43">
                  <c:v>7.7774241999999996</c:v>
                </c:pt>
                <c:pt idx="44">
                  <c:v>8.0828241999999992</c:v>
                </c:pt>
                <c:pt idx="45">
                  <c:v>8.0660570000000007</c:v>
                </c:pt>
                <c:pt idx="46">
                  <c:v>8.0910077999999999</c:v>
                </c:pt>
                <c:pt idx="47">
                  <c:v>8.2484633000000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33-47A7-8907-7A37F3639E06}"/>
            </c:ext>
          </c:extLst>
        </c:ser>
        <c:ser>
          <c:idx val="1"/>
          <c:order val="1"/>
          <c:tx>
            <c:strRef>
              <c:f>'T4-3'!$A$5</c:f>
              <c:strCache>
                <c:ptCount val="1"/>
                <c:pt idx="0">
                  <c:v>Desezonirani uvoz</c:v>
                </c:pt>
              </c:strCache>
            </c:strRef>
          </c:tx>
          <c:spPr>
            <a:ln w="25400"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pPr>
              <a:noFill/>
              <a:ln>
                <a:noFill/>
              </a:ln>
            </c:spPr>
          </c:marker>
          <c:cat>
            <c:multiLvlStrRef>
              <c:f>'T4-3'!$B$2:$AW$3</c:f>
              <c:multiLvlStrCache>
                <c:ptCount val="4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Q2</c:v>
                  </c:pt>
                  <c:pt idx="42">
                    <c:v>Q3</c:v>
                  </c:pt>
                  <c:pt idx="43">
                    <c:v>Q4</c:v>
                  </c:pt>
                  <c:pt idx="44">
                    <c:v>Q1</c:v>
                  </c:pt>
                  <c:pt idx="45">
                    <c:v>Q2</c:v>
                  </c:pt>
                  <c:pt idx="46">
                    <c:v>Q3</c:v>
                  </c:pt>
                  <c:pt idx="47">
                    <c:v>Q4</c:v>
                  </c:pt>
                </c:lvl>
                <c:lvl>
                  <c:pt idx="0">
                    <c:v>2014</c:v>
                  </c:pt>
                  <c:pt idx="4">
                    <c:v>2015</c:v>
                  </c:pt>
                  <c:pt idx="8">
                    <c:v>2016</c:v>
                  </c:pt>
                  <c:pt idx="12">
                    <c:v>2017</c:v>
                  </c:pt>
                  <c:pt idx="16">
                    <c:v>2018</c:v>
                  </c:pt>
                  <c:pt idx="20">
                    <c:v>2019</c:v>
                  </c:pt>
                  <c:pt idx="24">
                    <c:v>2020</c:v>
                  </c:pt>
                  <c:pt idx="28">
                    <c:v>2021</c:v>
                  </c:pt>
                  <c:pt idx="32">
                    <c:v>2022</c:v>
                  </c:pt>
                  <c:pt idx="36">
                    <c:v>2023</c:v>
                  </c:pt>
                  <c:pt idx="40">
                    <c:v>2024</c:v>
                  </c:pt>
                  <c:pt idx="44">
                    <c:v>2025</c:v>
                  </c:pt>
                </c:lvl>
              </c:multiLvlStrCache>
            </c:multiLvlStrRef>
          </c:cat>
          <c:val>
            <c:numRef>
              <c:f>'T4-3'!$B$5:$AW$5</c:f>
              <c:numCache>
                <c:formatCode>General</c:formatCode>
                <c:ptCount val="48"/>
                <c:pt idx="0">
                  <c:v>3.5950284000000003</c:v>
                </c:pt>
                <c:pt idx="1">
                  <c:v>3.7121637999999999</c:v>
                </c:pt>
                <c:pt idx="2">
                  <c:v>3.7917571999999997</c:v>
                </c:pt>
                <c:pt idx="3">
                  <c:v>3.6408674000000003</c:v>
                </c:pt>
                <c:pt idx="4">
                  <c:v>3.7337465000000001</c:v>
                </c:pt>
                <c:pt idx="5">
                  <c:v>3.7703801000000001</c:v>
                </c:pt>
                <c:pt idx="6">
                  <c:v>3.7852218</c:v>
                </c:pt>
                <c:pt idx="7">
                  <c:v>3.7902668000000004</c:v>
                </c:pt>
                <c:pt idx="8">
                  <c:v>3.8056033999999999</c:v>
                </c:pt>
                <c:pt idx="9">
                  <c:v>4.0920923999999994</c:v>
                </c:pt>
                <c:pt idx="10">
                  <c:v>3.9570564999999998</c:v>
                </c:pt>
                <c:pt idx="11">
                  <c:v>4.0563900999999998</c:v>
                </c:pt>
                <c:pt idx="12">
                  <c:v>4.3775982999999998</c:v>
                </c:pt>
                <c:pt idx="13">
                  <c:v>4.4985763000000007</c:v>
                </c:pt>
                <c:pt idx="14">
                  <c:v>4.4740180000000001</c:v>
                </c:pt>
                <c:pt idx="15">
                  <c:v>4.6819604999999997</c:v>
                </c:pt>
                <c:pt idx="16">
                  <c:v>4.854552</c:v>
                </c:pt>
                <c:pt idx="17">
                  <c:v>4.9344439999999992</c:v>
                </c:pt>
                <c:pt idx="18">
                  <c:v>5.1215054999999996</c:v>
                </c:pt>
                <c:pt idx="19">
                  <c:v>5.2743244000000002</c:v>
                </c:pt>
                <c:pt idx="20">
                  <c:v>5.3284314999999998</c:v>
                </c:pt>
                <c:pt idx="21">
                  <c:v>5.3916858000000003</c:v>
                </c:pt>
                <c:pt idx="22">
                  <c:v>5.5236748999999996</c:v>
                </c:pt>
                <c:pt idx="23">
                  <c:v>5.7843299000000004</c:v>
                </c:pt>
                <c:pt idx="24">
                  <c:v>5.7967436000000001</c:v>
                </c:pt>
                <c:pt idx="25">
                  <c:v>4.3237606</c:v>
                </c:pt>
                <c:pt idx="26">
                  <c:v>5.5002373000000011</c:v>
                </c:pt>
                <c:pt idx="27">
                  <c:v>5.7140048000000006</c:v>
                </c:pt>
                <c:pt idx="28">
                  <c:v>5.8269283999999999</c:v>
                </c:pt>
                <c:pt idx="29">
                  <c:v>6.5708640000000003</c:v>
                </c:pt>
                <c:pt idx="30">
                  <c:v>7.0610081000000005</c:v>
                </c:pt>
                <c:pt idx="31">
                  <c:v>7.5042672000000001</c:v>
                </c:pt>
                <c:pt idx="32">
                  <c:v>9.0479110999999985</c:v>
                </c:pt>
                <c:pt idx="33">
                  <c:v>9.4208541999999991</c:v>
                </c:pt>
                <c:pt idx="34">
                  <c:v>8.9321026999999997</c:v>
                </c:pt>
                <c:pt idx="35">
                  <c:v>8.8945886999999999</c:v>
                </c:pt>
                <c:pt idx="36">
                  <c:v>9.2111248000000003</c:v>
                </c:pt>
                <c:pt idx="37">
                  <c:v>8.5052427000000002</c:v>
                </c:pt>
                <c:pt idx="38">
                  <c:v>8.2194512</c:v>
                </c:pt>
                <c:pt idx="39">
                  <c:v>8.6923535000000012</c:v>
                </c:pt>
                <c:pt idx="40">
                  <c:v>8.8426735000000001</c:v>
                </c:pt>
                <c:pt idx="41">
                  <c:v>9.0166967000000007</c:v>
                </c:pt>
                <c:pt idx="42">
                  <c:v>9.446220799999999</c:v>
                </c:pt>
                <c:pt idx="43">
                  <c:v>9.3458589000000014</c:v>
                </c:pt>
                <c:pt idx="44">
                  <c:v>9.9183378999999992</c:v>
                </c:pt>
                <c:pt idx="45">
                  <c:v>9.7236618000000004</c:v>
                </c:pt>
                <c:pt idx="46">
                  <c:v>9.6307337999999998</c:v>
                </c:pt>
                <c:pt idx="47">
                  <c:v>9.6812501000000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33-47A7-8907-7A37F3639E06}"/>
            </c:ext>
          </c:extLst>
        </c:ser>
        <c:ser>
          <c:idx val="2"/>
          <c:order val="2"/>
          <c:tx>
            <c:strRef>
              <c:f>'T4-3'!$A$6</c:f>
              <c:strCache>
                <c:ptCount val="1"/>
                <c:pt idx="0">
                  <c:v>Robni deficit (desezonirano)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multiLvlStrRef>
              <c:f>'T4-3'!$B$2:$AW$3</c:f>
              <c:multiLvlStrCache>
                <c:ptCount val="4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Q2</c:v>
                  </c:pt>
                  <c:pt idx="42">
                    <c:v>Q3</c:v>
                  </c:pt>
                  <c:pt idx="43">
                    <c:v>Q4</c:v>
                  </c:pt>
                  <c:pt idx="44">
                    <c:v>Q1</c:v>
                  </c:pt>
                  <c:pt idx="45">
                    <c:v>Q2</c:v>
                  </c:pt>
                  <c:pt idx="46">
                    <c:v>Q3</c:v>
                  </c:pt>
                  <c:pt idx="47">
                    <c:v>Q4</c:v>
                  </c:pt>
                </c:lvl>
                <c:lvl>
                  <c:pt idx="0">
                    <c:v>2014</c:v>
                  </c:pt>
                  <c:pt idx="4">
                    <c:v>2015</c:v>
                  </c:pt>
                  <c:pt idx="8">
                    <c:v>2016</c:v>
                  </c:pt>
                  <c:pt idx="12">
                    <c:v>2017</c:v>
                  </c:pt>
                  <c:pt idx="16">
                    <c:v>2018</c:v>
                  </c:pt>
                  <c:pt idx="20">
                    <c:v>2019</c:v>
                  </c:pt>
                  <c:pt idx="24">
                    <c:v>2020</c:v>
                  </c:pt>
                  <c:pt idx="28">
                    <c:v>2021</c:v>
                  </c:pt>
                  <c:pt idx="32">
                    <c:v>2022</c:v>
                  </c:pt>
                  <c:pt idx="36">
                    <c:v>2023</c:v>
                  </c:pt>
                  <c:pt idx="40">
                    <c:v>2024</c:v>
                  </c:pt>
                  <c:pt idx="44">
                    <c:v>2025</c:v>
                  </c:pt>
                </c:lvl>
              </c:multiLvlStrCache>
            </c:multiLvlStrRef>
          </c:cat>
          <c:val>
            <c:numRef>
              <c:f>'T4-3'!$B$6:$AW$6</c:f>
              <c:numCache>
                <c:formatCode>General</c:formatCode>
                <c:ptCount val="48"/>
                <c:pt idx="0">
                  <c:v>-0.92996289000000054</c:v>
                </c:pt>
                <c:pt idx="1">
                  <c:v>-1.0641449000000001</c:v>
                </c:pt>
                <c:pt idx="2">
                  <c:v>-1.1467309599999997</c:v>
                </c:pt>
                <c:pt idx="3">
                  <c:v>-0.95929369000000086</c:v>
                </c:pt>
                <c:pt idx="4">
                  <c:v>-0.96388373999999999</c:v>
                </c:pt>
                <c:pt idx="5">
                  <c:v>-0.86723956000000024</c:v>
                </c:pt>
                <c:pt idx="6">
                  <c:v>-0.89170000000000016</c:v>
                </c:pt>
                <c:pt idx="7">
                  <c:v>-0.91201295000000027</c:v>
                </c:pt>
                <c:pt idx="8">
                  <c:v>-0.6880455999999997</c:v>
                </c:pt>
                <c:pt idx="9">
                  <c:v>-0.93514520000000001</c:v>
                </c:pt>
                <c:pt idx="10">
                  <c:v>-0.79363739999999972</c:v>
                </c:pt>
                <c:pt idx="11">
                  <c:v>-0.6803315999999997</c:v>
                </c:pt>
                <c:pt idx="12">
                  <c:v>-0.98188259999999961</c:v>
                </c:pt>
                <c:pt idx="13">
                  <c:v>-0.96771000000000074</c:v>
                </c:pt>
                <c:pt idx="14">
                  <c:v>-0.91938069999999961</c:v>
                </c:pt>
                <c:pt idx="15">
                  <c:v>-1.1253366999999996</c:v>
                </c:pt>
                <c:pt idx="16">
                  <c:v>-1.1669958999999999</c:v>
                </c:pt>
                <c:pt idx="17">
                  <c:v>-1.1969219999999989</c:v>
                </c:pt>
                <c:pt idx="18">
                  <c:v>-1.2965170999999995</c:v>
                </c:pt>
                <c:pt idx="19">
                  <c:v>-1.4149375000000006</c:v>
                </c:pt>
                <c:pt idx="20">
                  <c:v>-1.3807756000000002</c:v>
                </c:pt>
                <c:pt idx="21">
                  <c:v>-1.3233487999999998</c:v>
                </c:pt>
                <c:pt idx="22">
                  <c:v>-1.3760634999999999</c:v>
                </c:pt>
                <c:pt idx="23">
                  <c:v>-1.5407545000000002</c:v>
                </c:pt>
                <c:pt idx="24">
                  <c:v>-1.6755784</c:v>
                </c:pt>
                <c:pt idx="25">
                  <c:v>-1.05453324</c:v>
                </c:pt>
                <c:pt idx="26">
                  <c:v>-1.3239224000000016</c:v>
                </c:pt>
                <c:pt idx="27">
                  <c:v>-1.1368712000000007</c:v>
                </c:pt>
                <c:pt idx="28">
                  <c:v>-1.0515492999999996</c:v>
                </c:pt>
                <c:pt idx="29">
                  <c:v>-1.6442481999999998</c:v>
                </c:pt>
                <c:pt idx="30">
                  <c:v>-1.6021068000000005</c:v>
                </c:pt>
                <c:pt idx="31">
                  <c:v>-1.6368155000000009</c:v>
                </c:pt>
                <c:pt idx="32">
                  <c:v>-2.7955048999999992</c:v>
                </c:pt>
                <c:pt idx="33">
                  <c:v>-2.7729304999999993</c:v>
                </c:pt>
                <c:pt idx="34">
                  <c:v>-2.0324928999999994</c:v>
                </c:pt>
                <c:pt idx="35">
                  <c:v>-1.7618309999999999</c:v>
                </c:pt>
                <c:pt idx="36">
                  <c:v>-2.0189635000000008</c:v>
                </c:pt>
                <c:pt idx="37">
                  <c:v>-1.5741963999999999</c:v>
                </c:pt>
                <c:pt idx="38">
                  <c:v>-1.3484874000000007</c:v>
                </c:pt>
                <c:pt idx="39">
                  <c:v>-1.7148022000000012</c:v>
                </c:pt>
                <c:pt idx="40">
                  <c:v>-1.6650012999999992</c:v>
                </c:pt>
                <c:pt idx="41">
                  <c:v>-1.6494041000000008</c:v>
                </c:pt>
                <c:pt idx="42">
                  <c:v>-1.8540216999999988</c:v>
                </c:pt>
                <c:pt idx="43">
                  <c:v>-1.5684347000000018</c:v>
                </c:pt>
                <c:pt idx="44">
                  <c:v>-1.8355136999999999</c:v>
                </c:pt>
                <c:pt idx="45">
                  <c:v>-1.6576047999999997</c:v>
                </c:pt>
                <c:pt idx="46">
                  <c:v>-1.5397259999999999</c:v>
                </c:pt>
                <c:pt idx="47">
                  <c:v>-1.4327868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1FD-4A94-8BC1-972956EDC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13642272"/>
        <c:axId val="-1213629760"/>
      </c:lineChart>
      <c:catAx>
        <c:axId val="-1213642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-1213629760"/>
        <c:crosses val="autoZero"/>
        <c:auto val="1"/>
        <c:lblAlgn val="ctr"/>
        <c:lblOffset val="100"/>
        <c:noMultiLvlLbl val="0"/>
      </c:catAx>
      <c:valAx>
        <c:axId val="-1213629760"/>
        <c:scaling>
          <c:orientation val="minMax"/>
        </c:scaling>
        <c:delete val="0"/>
        <c:axPos val="l"/>
        <c:majorGridlines>
          <c:spPr>
            <a:ln w="12700">
              <a:solidFill>
                <a:srgbClr val="C0C0C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sr-Latn-CS"/>
                  <a:t>milijarfde evra</a:t>
                </a:r>
              </a:p>
            </c:rich>
          </c:tx>
          <c:layout>
            <c:manualLayout>
              <c:xMode val="edge"/>
              <c:yMode val="edge"/>
              <c:x val="1.0037097357944263E-2"/>
              <c:y val="0.23992208672086721"/>
            </c:manualLayout>
          </c:layout>
          <c:overlay val="0"/>
          <c:spPr>
            <a:noFill/>
            <a:ln w="25400">
              <a:noFill/>
            </a:ln>
          </c:spPr>
        </c:title>
        <c:numFmt formatCode="#,##0.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-121364227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4.9621696053129376E-2"/>
          <c:y val="0.8682782746996468"/>
          <c:w val="0.95037830394687051"/>
          <c:h val="0.11786310110584387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noFill/>
    <a:ln w="9525">
      <a:solidFill>
        <a:srgbClr val="000000"/>
      </a:solidFill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 panose="020B0604020202020204" pitchFamily="34" charset="0"/>
          <a:ea typeface="Myriad Pro SemiCond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T4-4'!$A$3</c:f>
              <c:strCache>
                <c:ptCount val="1"/>
                <c:pt idx="0">
                  <c:v>Indeks odnosa razmene, jun 2012=10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16"/>
              <c:layout>
                <c:manualLayout>
                  <c:x val="-1.2427762407799703E-3"/>
                  <c:y val="-3.482153278981973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3E4-4D45-B4E4-8A636873159C}"/>
                </c:ext>
              </c:extLst>
            </c:dLbl>
            <c:dLbl>
              <c:idx val="143"/>
              <c:layout>
                <c:manualLayout>
                  <c:x val="-1.793110831372291E-2"/>
                  <c:y val="-0.19465178075516901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/>
                      <a:t>jun 2025. </a:t>
                    </a:r>
                  </a:p>
                  <a:p>
                    <a:pPr>
                      <a:defRPr/>
                    </a:pPr>
                    <a:r>
                      <a:rPr lang="en-US"/>
                      <a:t>100,8</a:t>
                    </a:r>
                  </a:p>
                </c:rich>
              </c:tx>
              <c:spPr>
                <a:xfrm>
                  <a:off x="8866505" y="834170"/>
                  <a:ext cx="981838" cy="611728"/>
                </a:xfrm>
                <a:solidFill>
                  <a:sysClr val="window" lastClr="FFFFFF"/>
                </a:soli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69857"/>
                        <a:gd name="adj2" fmla="val 15520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9.6079170875314951E-2"/>
                      <c:h val="0.11980493861015105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3CBE-423A-B54A-1A339CD5E5A4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4-4'!$B$2:$DN$2</c:f>
              <c:strCache>
                <c:ptCount val="117"/>
                <c:pt idx="0">
                  <c:v>januar 2016</c:v>
                </c:pt>
                <c:pt idx="1">
                  <c:v>februar 2016</c:v>
                </c:pt>
                <c:pt idx="2">
                  <c:v>mart 2016</c:v>
                </c:pt>
                <c:pt idx="3">
                  <c:v>april 2016</c:v>
                </c:pt>
                <c:pt idx="4">
                  <c:v>maj 2016</c:v>
                </c:pt>
                <c:pt idx="5">
                  <c:v>jun 2016</c:v>
                </c:pt>
                <c:pt idx="6">
                  <c:v>jul 2016</c:v>
                </c:pt>
                <c:pt idx="7">
                  <c:v>avgust 2016</c:v>
                </c:pt>
                <c:pt idx="8">
                  <c:v>septembar 2016</c:v>
                </c:pt>
                <c:pt idx="9">
                  <c:v>oktobar 2016</c:v>
                </c:pt>
                <c:pt idx="10">
                  <c:v>novembar 2016</c:v>
                </c:pt>
                <c:pt idx="11">
                  <c:v>decembar 2016</c:v>
                </c:pt>
                <c:pt idx="12">
                  <c:v>januar 2017</c:v>
                </c:pt>
                <c:pt idx="13">
                  <c:v>februar 2017</c:v>
                </c:pt>
                <c:pt idx="14">
                  <c:v>mart 2017</c:v>
                </c:pt>
                <c:pt idx="15">
                  <c:v>april 2017</c:v>
                </c:pt>
                <c:pt idx="16">
                  <c:v>maj 2017</c:v>
                </c:pt>
                <c:pt idx="17">
                  <c:v>jun 2017</c:v>
                </c:pt>
                <c:pt idx="18">
                  <c:v>jul 2017</c:v>
                </c:pt>
                <c:pt idx="19">
                  <c:v>avgust 2017</c:v>
                </c:pt>
                <c:pt idx="20">
                  <c:v>septembar 2017</c:v>
                </c:pt>
                <c:pt idx="21">
                  <c:v>oktobar 2017</c:v>
                </c:pt>
                <c:pt idx="22">
                  <c:v>novembar 2017</c:v>
                </c:pt>
                <c:pt idx="23">
                  <c:v>decembar 2017</c:v>
                </c:pt>
                <c:pt idx="24">
                  <c:v>januar 2018</c:v>
                </c:pt>
                <c:pt idx="25">
                  <c:v>februar 2018</c:v>
                </c:pt>
                <c:pt idx="26">
                  <c:v>mart 2018</c:v>
                </c:pt>
                <c:pt idx="27">
                  <c:v>april 2018</c:v>
                </c:pt>
                <c:pt idx="28">
                  <c:v>maj 2018</c:v>
                </c:pt>
                <c:pt idx="29">
                  <c:v>jun 2018</c:v>
                </c:pt>
                <c:pt idx="30">
                  <c:v>jul 2018</c:v>
                </c:pt>
                <c:pt idx="31">
                  <c:v>avgust 2018</c:v>
                </c:pt>
                <c:pt idx="32">
                  <c:v>septembar 2018</c:v>
                </c:pt>
                <c:pt idx="33">
                  <c:v>oktobar 2018</c:v>
                </c:pt>
                <c:pt idx="34">
                  <c:v>novembar 2018</c:v>
                </c:pt>
                <c:pt idx="35">
                  <c:v>decembar 2018</c:v>
                </c:pt>
                <c:pt idx="36">
                  <c:v>januar 2019</c:v>
                </c:pt>
                <c:pt idx="37">
                  <c:v>februar 2019</c:v>
                </c:pt>
                <c:pt idx="38">
                  <c:v>mart 2019</c:v>
                </c:pt>
                <c:pt idx="39">
                  <c:v>april 2019</c:v>
                </c:pt>
                <c:pt idx="40">
                  <c:v>maj 2019</c:v>
                </c:pt>
                <c:pt idx="41">
                  <c:v>jun 2019</c:v>
                </c:pt>
                <c:pt idx="42">
                  <c:v>jul 2019</c:v>
                </c:pt>
                <c:pt idx="43">
                  <c:v>avgust 2019</c:v>
                </c:pt>
                <c:pt idx="44">
                  <c:v>septembar 2019</c:v>
                </c:pt>
                <c:pt idx="45">
                  <c:v>oktobar 2019</c:v>
                </c:pt>
                <c:pt idx="46">
                  <c:v>novembar 2019</c:v>
                </c:pt>
                <c:pt idx="47">
                  <c:v>decembar 2019</c:v>
                </c:pt>
                <c:pt idx="48">
                  <c:v>januar 2020</c:v>
                </c:pt>
                <c:pt idx="49">
                  <c:v>februar 2020</c:v>
                </c:pt>
                <c:pt idx="50">
                  <c:v>mart 2020</c:v>
                </c:pt>
                <c:pt idx="51">
                  <c:v>april 2020</c:v>
                </c:pt>
                <c:pt idx="52">
                  <c:v>maj 2020</c:v>
                </c:pt>
                <c:pt idx="53">
                  <c:v>jun 2020</c:v>
                </c:pt>
                <c:pt idx="54">
                  <c:v>jul 2020</c:v>
                </c:pt>
                <c:pt idx="55">
                  <c:v>avgust 2020</c:v>
                </c:pt>
                <c:pt idx="56">
                  <c:v>septembar 2020</c:v>
                </c:pt>
                <c:pt idx="57">
                  <c:v>oktobar 2020</c:v>
                </c:pt>
                <c:pt idx="58">
                  <c:v>novembar 2020</c:v>
                </c:pt>
                <c:pt idx="59">
                  <c:v>decembar 2020</c:v>
                </c:pt>
                <c:pt idx="60">
                  <c:v>januar 2021</c:v>
                </c:pt>
                <c:pt idx="61">
                  <c:v>februar 2021</c:v>
                </c:pt>
                <c:pt idx="62">
                  <c:v>mart 2021</c:v>
                </c:pt>
                <c:pt idx="63">
                  <c:v>april 2021</c:v>
                </c:pt>
                <c:pt idx="64">
                  <c:v>maj 2021</c:v>
                </c:pt>
                <c:pt idx="65">
                  <c:v>jun 2021</c:v>
                </c:pt>
                <c:pt idx="66">
                  <c:v>jul 2021</c:v>
                </c:pt>
                <c:pt idx="67">
                  <c:v>avgust 2021</c:v>
                </c:pt>
                <c:pt idx="68">
                  <c:v>septembar 2021</c:v>
                </c:pt>
                <c:pt idx="69">
                  <c:v>oktobar 2021</c:v>
                </c:pt>
                <c:pt idx="70">
                  <c:v>novembar 2021</c:v>
                </c:pt>
                <c:pt idx="71">
                  <c:v>decembar 2021</c:v>
                </c:pt>
                <c:pt idx="72">
                  <c:v>januar 2022</c:v>
                </c:pt>
                <c:pt idx="73">
                  <c:v>februar 2022</c:v>
                </c:pt>
                <c:pt idx="74">
                  <c:v>mart 2022</c:v>
                </c:pt>
                <c:pt idx="75">
                  <c:v>april 2022</c:v>
                </c:pt>
                <c:pt idx="76">
                  <c:v>maj 2022</c:v>
                </c:pt>
                <c:pt idx="77">
                  <c:v>jun 2022</c:v>
                </c:pt>
                <c:pt idx="78">
                  <c:v>jul 2022</c:v>
                </c:pt>
                <c:pt idx="79">
                  <c:v>avgust 2022</c:v>
                </c:pt>
                <c:pt idx="80">
                  <c:v>septembar 2022</c:v>
                </c:pt>
                <c:pt idx="81">
                  <c:v>oktobar 2022</c:v>
                </c:pt>
                <c:pt idx="82">
                  <c:v>novembar 2022</c:v>
                </c:pt>
                <c:pt idx="83">
                  <c:v>decembar 2022</c:v>
                </c:pt>
                <c:pt idx="84">
                  <c:v>januar 2023</c:v>
                </c:pt>
                <c:pt idx="85">
                  <c:v>februar 2023</c:v>
                </c:pt>
                <c:pt idx="86">
                  <c:v>mart 2023</c:v>
                </c:pt>
                <c:pt idx="87">
                  <c:v>april 2023</c:v>
                </c:pt>
                <c:pt idx="88">
                  <c:v>maj 2023</c:v>
                </c:pt>
                <c:pt idx="89">
                  <c:v>jun 2023</c:v>
                </c:pt>
                <c:pt idx="90">
                  <c:v>jul 2023</c:v>
                </c:pt>
                <c:pt idx="91">
                  <c:v>avgust 2023</c:v>
                </c:pt>
                <c:pt idx="92">
                  <c:v>septembar 2023</c:v>
                </c:pt>
                <c:pt idx="93">
                  <c:v>oktobar 2023</c:v>
                </c:pt>
                <c:pt idx="94">
                  <c:v>novembar 2023</c:v>
                </c:pt>
                <c:pt idx="95">
                  <c:v>decembar 2023</c:v>
                </c:pt>
                <c:pt idx="96">
                  <c:v>januar 2024</c:v>
                </c:pt>
                <c:pt idx="97">
                  <c:v>februar 2024</c:v>
                </c:pt>
                <c:pt idx="98">
                  <c:v>mart 2024</c:v>
                </c:pt>
                <c:pt idx="99">
                  <c:v>april 2024</c:v>
                </c:pt>
                <c:pt idx="100">
                  <c:v>maj 2024</c:v>
                </c:pt>
                <c:pt idx="101">
                  <c:v>jun 2024</c:v>
                </c:pt>
                <c:pt idx="102">
                  <c:v>jul 2024</c:v>
                </c:pt>
                <c:pt idx="103">
                  <c:v>avgust 2024</c:v>
                </c:pt>
                <c:pt idx="104">
                  <c:v>septembar 2024</c:v>
                </c:pt>
                <c:pt idx="105">
                  <c:v>oktobar 2024</c:v>
                </c:pt>
                <c:pt idx="106">
                  <c:v>novembar 2024</c:v>
                </c:pt>
                <c:pt idx="107">
                  <c:v>decembar 2024</c:v>
                </c:pt>
                <c:pt idx="108">
                  <c:v>januar 2025</c:v>
                </c:pt>
                <c:pt idx="109">
                  <c:v>februar 2025</c:v>
                </c:pt>
                <c:pt idx="110">
                  <c:v>mart 2025</c:v>
                </c:pt>
                <c:pt idx="111">
                  <c:v>april 2025</c:v>
                </c:pt>
                <c:pt idx="112">
                  <c:v>maj 2025</c:v>
                </c:pt>
                <c:pt idx="113">
                  <c:v>jun 2025</c:v>
                </c:pt>
                <c:pt idx="114">
                  <c:v>jul 2025</c:v>
                </c:pt>
                <c:pt idx="115">
                  <c:v>avgust 2025</c:v>
                </c:pt>
                <c:pt idx="116">
                  <c:v>septembar 2025</c:v>
                </c:pt>
              </c:strCache>
            </c:strRef>
          </c:cat>
          <c:val>
            <c:numRef>
              <c:f>'T4-4'!$B$3:$DN$3</c:f>
              <c:numCache>
                <c:formatCode>General</c:formatCode>
                <c:ptCount val="117"/>
                <c:pt idx="0">
                  <c:v>103.75619506835901</c:v>
                </c:pt>
                <c:pt idx="1">
                  <c:v>103.73028564453099</c:v>
                </c:pt>
                <c:pt idx="2">
                  <c:v>103.291511535645</c:v>
                </c:pt>
                <c:pt idx="3">
                  <c:v>103.04347991943401</c:v>
                </c:pt>
                <c:pt idx="4">
                  <c:v>102.680618286133</c:v>
                </c:pt>
                <c:pt idx="5">
                  <c:v>102.435134887695</c:v>
                </c:pt>
                <c:pt idx="6">
                  <c:v>102.37916564941401</c:v>
                </c:pt>
                <c:pt idx="7">
                  <c:v>102.23812866210901</c:v>
                </c:pt>
                <c:pt idx="8">
                  <c:v>102.187294006348</c:v>
                </c:pt>
                <c:pt idx="9">
                  <c:v>101.830612182617</c:v>
                </c:pt>
                <c:pt idx="10">
                  <c:v>102.06755828857401</c:v>
                </c:pt>
                <c:pt idx="11">
                  <c:v>101.428184509277</c:v>
                </c:pt>
                <c:pt idx="12">
                  <c:v>101.251510620117</c:v>
                </c:pt>
                <c:pt idx="13">
                  <c:v>101.48919677734401</c:v>
                </c:pt>
                <c:pt idx="14">
                  <c:v>101.849250793457</c:v>
                </c:pt>
                <c:pt idx="15">
                  <c:v>101.695991516113</c:v>
                </c:pt>
                <c:pt idx="16">
                  <c:v>101.88687133789099</c:v>
                </c:pt>
                <c:pt idx="17">
                  <c:v>102.197784423828</c:v>
                </c:pt>
                <c:pt idx="18">
                  <c:v>102.14901733398401</c:v>
                </c:pt>
                <c:pt idx="19">
                  <c:v>101.791786193848</c:v>
                </c:pt>
                <c:pt idx="20">
                  <c:v>101.532150268555</c:v>
                </c:pt>
                <c:pt idx="21">
                  <c:v>101.40641784668</c:v>
                </c:pt>
                <c:pt idx="22">
                  <c:v>101.064041137695</c:v>
                </c:pt>
                <c:pt idx="23">
                  <c:v>100.97380065918</c:v>
                </c:pt>
                <c:pt idx="24">
                  <c:v>100.673858642578</c:v>
                </c:pt>
                <c:pt idx="25">
                  <c:v>100.86419677734401</c:v>
                </c:pt>
                <c:pt idx="26">
                  <c:v>100.92010498046901</c:v>
                </c:pt>
                <c:pt idx="27">
                  <c:v>100.937217712402</c:v>
                </c:pt>
                <c:pt idx="28">
                  <c:v>100.61939239502</c:v>
                </c:pt>
                <c:pt idx="29">
                  <c:v>100.511558532715</c:v>
                </c:pt>
                <c:pt idx="30">
                  <c:v>100.47341156005901</c:v>
                </c:pt>
                <c:pt idx="31">
                  <c:v>100.55404663085901</c:v>
                </c:pt>
                <c:pt idx="32">
                  <c:v>100.20826721191401</c:v>
                </c:pt>
                <c:pt idx="33">
                  <c:v>100.315292358398</c:v>
                </c:pt>
                <c:pt idx="34">
                  <c:v>100.87425994873</c:v>
                </c:pt>
                <c:pt idx="35">
                  <c:v>101.42701721191401</c:v>
                </c:pt>
                <c:pt idx="36">
                  <c:v>101.491828918457</c:v>
                </c:pt>
                <c:pt idx="37">
                  <c:v>101.62850189209</c:v>
                </c:pt>
                <c:pt idx="38">
                  <c:v>101.59895324707</c:v>
                </c:pt>
                <c:pt idx="39">
                  <c:v>101.45310211181599</c:v>
                </c:pt>
                <c:pt idx="40">
                  <c:v>101.63932800293</c:v>
                </c:pt>
                <c:pt idx="41">
                  <c:v>102.39036560058599</c:v>
                </c:pt>
                <c:pt idx="42">
                  <c:v>102.280479431152</c:v>
                </c:pt>
                <c:pt idx="43">
                  <c:v>102.505859375</c:v>
                </c:pt>
                <c:pt idx="44">
                  <c:v>102.230018615723</c:v>
                </c:pt>
                <c:pt idx="45">
                  <c:v>102.36866760253901</c:v>
                </c:pt>
                <c:pt idx="46">
                  <c:v>101.982872009277</c:v>
                </c:pt>
                <c:pt idx="47">
                  <c:v>101.97149658203099</c:v>
                </c:pt>
                <c:pt idx="48">
                  <c:v>102.277214050293</c:v>
                </c:pt>
                <c:pt idx="49">
                  <c:v>103.05539703369099</c:v>
                </c:pt>
                <c:pt idx="50">
                  <c:v>104.381942749023</c:v>
                </c:pt>
                <c:pt idx="51">
                  <c:v>105.660758972168</c:v>
                </c:pt>
                <c:pt idx="52">
                  <c:v>104.964141845703</c:v>
                </c:pt>
                <c:pt idx="53">
                  <c:v>104.325073242188</c:v>
                </c:pt>
                <c:pt idx="54">
                  <c:v>104.16429138183599</c:v>
                </c:pt>
                <c:pt idx="55">
                  <c:v>103.429649353027</c:v>
                </c:pt>
                <c:pt idx="56">
                  <c:v>103.47364807128901</c:v>
                </c:pt>
                <c:pt idx="57">
                  <c:v>103.189163208008</c:v>
                </c:pt>
                <c:pt idx="58">
                  <c:v>102.996467590332</c:v>
                </c:pt>
                <c:pt idx="59">
                  <c:v>102.25519561767599</c:v>
                </c:pt>
                <c:pt idx="60">
                  <c:v>101.614883422852</c:v>
                </c:pt>
                <c:pt idx="61">
                  <c:v>102.085334777832</c:v>
                </c:pt>
                <c:pt idx="62">
                  <c:v>101.981986999512</c:v>
                </c:pt>
                <c:pt idx="63">
                  <c:v>101.92018127441401</c:v>
                </c:pt>
                <c:pt idx="64">
                  <c:v>101.652153015137</c:v>
                </c:pt>
                <c:pt idx="65">
                  <c:v>101.035568237305</c:v>
                </c:pt>
                <c:pt idx="66">
                  <c:v>100.647827148438</c:v>
                </c:pt>
                <c:pt idx="67">
                  <c:v>100.588371276855</c:v>
                </c:pt>
                <c:pt idx="68">
                  <c:v>99.822349548339801</c:v>
                </c:pt>
                <c:pt idx="69">
                  <c:v>99.099479675292997</c:v>
                </c:pt>
                <c:pt idx="70">
                  <c:v>99.551216125488295</c:v>
                </c:pt>
                <c:pt idx="71">
                  <c:v>99.506904602050795</c:v>
                </c:pt>
                <c:pt idx="72">
                  <c:v>99.466796875</c:v>
                </c:pt>
                <c:pt idx="73">
                  <c:v>99.213859558105497</c:v>
                </c:pt>
                <c:pt idx="74">
                  <c:v>98.3475341796875</c:v>
                </c:pt>
                <c:pt idx="75">
                  <c:v>98.874832153320298</c:v>
                </c:pt>
                <c:pt idx="76">
                  <c:v>98.866966247558594</c:v>
                </c:pt>
                <c:pt idx="77">
                  <c:v>98.433044433593807</c:v>
                </c:pt>
                <c:pt idx="78">
                  <c:v>98.083229064941406</c:v>
                </c:pt>
                <c:pt idx="79">
                  <c:v>97.803405761718807</c:v>
                </c:pt>
                <c:pt idx="80">
                  <c:v>98.474014282226605</c:v>
                </c:pt>
                <c:pt idx="81">
                  <c:v>99.560005187988295</c:v>
                </c:pt>
                <c:pt idx="82">
                  <c:v>99.513435363769503</c:v>
                </c:pt>
                <c:pt idx="83">
                  <c:v>99.411338806152301</c:v>
                </c:pt>
                <c:pt idx="84">
                  <c:v>100.096145629883</c:v>
                </c:pt>
                <c:pt idx="85">
                  <c:v>100.558296203613</c:v>
                </c:pt>
                <c:pt idx="86">
                  <c:v>100.87442016601599</c:v>
                </c:pt>
                <c:pt idx="87">
                  <c:v>100.822273254395</c:v>
                </c:pt>
                <c:pt idx="88">
                  <c:v>101.36434173584</c:v>
                </c:pt>
                <c:pt idx="89">
                  <c:v>101.36891174316401</c:v>
                </c:pt>
                <c:pt idx="90">
                  <c:v>101.048057556152</c:v>
                </c:pt>
                <c:pt idx="91">
                  <c:v>100.57772064209</c:v>
                </c:pt>
                <c:pt idx="92">
                  <c:v>100.220863342285</c:v>
                </c:pt>
                <c:pt idx="93">
                  <c:v>100.06267547607401</c:v>
                </c:pt>
                <c:pt idx="94">
                  <c:v>100.25749206543</c:v>
                </c:pt>
                <c:pt idx="95">
                  <c:v>100.656776428223</c:v>
                </c:pt>
                <c:pt idx="96">
                  <c:v>100.75137329101599</c:v>
                </c:pt>
                <c:pt idx="97">
                  <c:v>100.902313232422</c:v>
                </c:pt>
                <c:pt idx="98">
                  <c:v>100.65696716308599</c:v>
                </c:pt>
                <c:pt idx="99">
                  <c:v>100.36897277832</c:v>
                </c:pt>
                <c:pt idx="100">
                  <c:v>100.427085876465</c:v>
                </c:pt>
                <c:pt idx="101">
                  <c:v>100.24397277832</c:v>
                </c:pt>
                <c:pt idx="102">
                  <c:v>100.308700561523</c:v>
                </c:pt>
                <c:pt idx="103">
                  <c:v>100.185737609863</c:v>
                </c:pt>
                <c:pt idx="104">
                  <c:v>100.52415466308599</c:v>
                </c:pt>
                <c:pt idx="105">
                  <c:v>100.459144592285</c:v>
                </c:pt>
                <c:pt idx="106">
                  <c:v>100.414421081543</c:v>
                </c:pt>
                <c:pt idx="107">
                  <c:v>100.31996917724599</c:v>
                </c:pt>
                <c:pt idx="108">
                  <c:v>100.038940429688</c:v>
                </c:pt>
                <c:pt idx="109">
                  <c:v>100.23</c:v>
                </c:pt>
                <c:pt idx="110">
                  <c:v>100.51</c:v>
                </c:pt>
                <c:pt idx="111">
                  <c:v>101</c:v>
                </c:pt>
                <c:pt idx="112">
                  <c:v>101.12</c:v>
                </c:pt>
                <c:pt idx="113">
                  <c:v>100.68</c:v>
                </c:pt>
                <c:pt idx="114">
                  <c:v>100.77</c:v>
                </c:pt>
                <c:pt idx="115">
                  <c:v>100.92</c:v>
                </c:pt>
                <c:pt idx="116">
                  <c:v>100.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02-4EC6-92C1-646C064B13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13641728"/>
        <c:axId val="-1213640096"/>
      </c:lineChart>
      <c:catAx>
        <c:axId val="-121364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0096"/>
        <c:crosses val="autoZero"/>
        <c:auto val="1"/>
        <c:lblAlgn val="ctr"/>
        <c:lblOffset val="100"/>
        <c:tickLblSkip val="4"/>
        <c:noMultiLvlLbl val="0"/>
      </c:catAx>
      <c:valAx>
        <c:axId val="-1213640096"/>
        <c:scaling>
          <c:orientation val="minMax"/>
          <c:min val="9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1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rgbClr val="000000"/>
      </a:solidFill>
    </a:ln>
    <a:effectLst/>
  </c:spPr>
  <c:txPr>
    <a:bodyPr/>
    <a:lstStyle/>
    <a:p>
      <a:pPr>
        <a:defRPr sz="11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829668838219324E-2"/>
          <c:y val="5.9154810298102982E-2"/>
          <c:w val="0.86856971588852694"/>
          <c:h val="0.528771595528455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tr02'!$S$6</c:f>
              <c:strCache>
                <c:ptCount val="1"/>
                <c:pt idx="0">
                  <c:v>Izvo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tr02'!$R$7:$R$13</c:f>
              <c:strCache>
                <c:ptCount val="7"/>
                <c:pt idx="0">
                  <c:v>Ukupno</c:v>
                </c:pt>
                <c:pt idx="1">
                  <c:v>Energija</c:v>
                </c:pt>
                <c:pt idx="2">
                  <c:v>Intermedijarni </c:v>
                </c:pt>
                <c:pt idx="3">
                  <c:v>Kapitalni</c:v>
                </c:pt>
                <c:pt idx="4">
                  <c:v>Potrošnja -trajni</c:v>
                </c:pt>
                <c:pt idx="5">
                  <c:v>Potrošnje- netrajni</c:v>
                </c:pt>
                <c:pt idx="6">
                  <c:v>Nekslifikovano</c:v>
                </c:pt>
              </c:strCache>
            </c:strRef>
          </c:cat>
          <c:val>
            <c:numRef>
              <c:f>'str02'!$S$7:$S$13</c:f>
              <c:numCache>
                <c:formatCode>0.0</c:formatCode>
                <c:ptCount val="7"/>
                <c:pt idx="0">
                  <c:v>8.4000000000000057</c:v>
                </c:pt>
                <c:pt idx="1">
                  <c:v>7.4000000000000057</c:v>
                </c:pt>
                <c:pt idx="2">
                  <c:v>8.2000000000000028</c:v>
                </c:pt>
                <c:pt idx="3">
                  <c:v>15.400000000000006</c:v>
                </c:pt>
                <c:pt idx="4">
                  <c:v>7.7999999999999972</c:v>
                </c:pt>
                <c:pt idx="5">
                  <c:v>7.2999999999999972</c:v>
                </c:pt>
                <c:pt idx="6">
                  <c:v>-16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3A-42A4-84E3-95A70A6B2667}"/>
            </c:ext>
          </c:extLst>
        </c:ser>
        <c:ser>
          <c:idx val="1"/>
          <c:order val="1"/>
          <c:tx>
            <c:strRef>
              <c:f>'str02'!$T$6</c:f>
              <c:strCache>
                <c:ptCount val="1"/>
                <c:pt idx="0">
                  <c:v>Uvoz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tr02'!$R$7:$R$13</c:f>
              <c:strCache>
                <c:ptCount val="7"/>
                <c:pt idx="0">
                  <c:v>Ukupno</c:v>
                </c:pt>
                <c:pt idx="1">
                  <c:v>Energija</c:v>
                </c:pt>
                <c:pt idx="2">
                  <c:v>Intermedijarni </c:v>
                </c:pt>
                <c:pt idx="3">
                  <c:v>Kapitalni</c:v>
                </c:pt>
                <c:pt idx="4">
                  <c:v>Potrošnja -trajni</c:v>
                </c:pt>
                <c:pt idx="5">
                  <c:v>Potrošnje- netrajni</c:v>
                </c:pt>
                <c:pt idx="6">
                  <c:v>Nekslifikovano</c:v>
                </c:pt>
              </c:strCache>
            </c:strRef>
          </c:cat>
          <c:val>
            <c:numRef>
              <c:f>'str02'!$T$7:$T$13</c:f>
              <c:numCache>
                <c:formatCode>0.0</c:formatCode>
                <c:ptCount val="7"/>
                <c:pt idx="0">
                  <c:v>7.2000000000000028</c:v>
                </c:pt>
                <c:pt idx="1">
                  <c:v>-3.2000000000000028</c:v>
                </c:pt>
                <c:pt idx="2">
                  <c:v>4.2999999999999972</c:v>
                </c:pt>
                <c:pt idx="3">
                  <c:v>7.9000000000000057</c:v>
                </c:pt>
                <c:pt idx="4">
                  <c:v>9.7000000000000028</c:v>
                </c:pt>
                <c:pt idx="5">
                  <c:v>10</c:v>
                </c:pt>
                <c:pt idx="6">
                  <c:v>17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3A-42A4-84E3-95A70A6B2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213636832"/>
        <c:axId val="-1213634112"/>
      </c:barChart>
      <c:catAx>
        <c:axId val="-1213636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4112"/>
        <c:crosses val="autoZero"/>
        <c:auto val="1"/>
        <c:lblAlgn val="ctr"/>
        <c:lblOffset val="100"/>
        <c:noMultiLvlLbl val="0"/>
      </c:catAx>
      <c:valAx>
        <c:axId val="-1213634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6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577791349981905"/>
          <c:y val="0.91422806571815718"/>
          <c:w val="0.2054619073470865"/>
          <c:h val="6.42610941734417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000000"/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eur!$A$67:$B$67</c:f>
              <c:strCache>
                <c:ptCount val="2"/>
                <c:pt idx="1">
                  <c:v>SDI 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000000"/>
              </a:solidFill>
            </a:ln>
            <a:effectLst/>
          </c:spPr>
          <c:invertIfNegative val="0"/>
          <c:cat>
            <c:strRef>
              <c:f>eur!$C$66:$U$66</c:f>
              <c:strCache>
                <c:ptCount val="19"/>
                <c:pt idx="0">
                  <c:v>2007.</c:v>
                </c:pt>
                <c:pt idx="1">
                  <c:v>2008.</c:v>
                </c:pt>
                <c:pt idx="2">
                  <c:v>2009.</c:v>
                </c:pt>
                <c:pt idx="3">
                  <c:v>2010.</c:v>
                </c:pt>
                <c:pt idx="4">
                  <c:v>2011.</c:v>
                </c:pt>
                <c:pt idx="5">
                  <c:v>2012.</c:v>
                </c:pt>
                <c:pt idx="6">
                  <c:v>2013.</c:v>
                </c:pt>
                <c:pt idx="7">
                  <c:v>2014.</c:v>
                </c:pt>
                <c:pt idx="8">
                  <c:v>2015.</c:v>
                </c:pt>
                <c:pt idx="9">
                  <c:v>2016.</c:v>
                </c:pt>
                <c:pt idx="10">
                  <c:v>2.017</c:v>
                </c:pt>
                <c:pt idx="11">
                  <c:v>2.018</c:v>
                </c:pt>
                <c:pt idx="12">
                  <c:v>2019.</c:v>
                </c:pt>
                <c:pt idx="13">
                  <c:v>2020.</c:v>
                </c:pt>
                <c:pt idx="14">
                  <c:v>2021.</c:v>
                </c:pt>
                <c:pt idx="15">
                  <c:v>2022.</c:v>
                </c:pt>
                <c:pt idx="16">
                  <c:v>2023.</c:v>
                </c:pt>
                <c:pt idx="17">
                  <c:v>2024.</c:v>
                </c:pt>
                <c:pt idx="18">
                  <c:v>2025.</c:v>
                </c:pt>
              </c:strCache>
            </c:strRef>
          </c:cat>
          <c:val>
            <c:numRef>
              <c:f>eur!$C$67:$U$67</c:f>
              <c:numCache>
                <c:formatCode>#,##0</c:formatCode>
                <c:ptCount val="19"/>
                <c:pt idx="0">
                  <c:v>2528.2068692957664</c:v>
                </c:pt>
                <c:pt idx="1">
                  <c:v>2485.6933772592447</c:v>
                </c:pt>
                <c:pt idx="2">
                  <c:v>2067.7784614289876</c:v>
                </c:pt>
                <c:pt idx="3">
                  <c:v>1133.4120127553736</c:v>
                </c:pt>
                <c:pt idx="4">
                  <c:v>3319.6257367119315</c:v>
                </c:pt>
                <c:pt idx="5">
                  <c:v>752.8284579896017</c:v>
                </c:pt>
                <c:pt idx="6">
                  <c:v>1298.1346735393051</c:v>
                </c:pt>
                <c:pt idx="7">
                  <c:v>1236.2986116974837</c:v>
                </c:pt>
                <c:pt idx="8">
                  <c:v>1803.7819157857341</c:v>
                </c:pt>
                <c:pt idx="9">
                  <c:v>1899.1752965369308</c:v>
                </c:pt>
                <c:pt idx="10">
                  <c:v>2418.1196095442929</c:v>
                </c:pt>
                <c:pt idx="11">
                  <c:v>3156.517083811561</c:v>
                </c:pt>
                <c:pt idx="12">
                  <c:v>3551.0899272153597</c:v>
                </c:pt>
                <c:pt idx="13">
                  <c:v>2938.4810067395488</c:v>
                </c:pt>
                <c:pt idx="14">
                  <c:v>3656.9074042554371</c:v>
                </c:pt>
                <c:pt idx="15">
                  <c:v>4328.2121896192075</c:v>
                </c:pt>
                <c:pt idx="16">
                  <c:v>4261.6070032472508</c:v>
                </c:pt>
                <c:pt idx="17">
                  <c:v>4602.4978444832004</c:v>
                </c:pt>
                <c:pt idx="18">
                  <c:v>2278.1876201093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51-4D06-BD64-E8CD0823CBD4}"/>
            </c:ext>
          </c:extLst>
        </c:ser>
        <c:ser>
          <c:idx val="1"/>
          <c:order val="1"/>
          <c:tx>
            <c:strRef>
              <c:f>eur!$A$68:$B$68</c:f>
              <c:strCache>
                <c:ptCount val="2"/>
                <c:pt idx="0">
                  <c:v>Rashodi po osnovu dohotka od SDI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000000"/>
              </a:solidFill>
            </a:ln>
            <a:effectLst/>
          </c:spPr>
          <c:invertIfNegative val="0"/>
          <c:cat>
            <c:strRef>
              <c:f>eur!$C$66:$U$66</c:f>
              <c:strCache>
                <c:ptCount val="19"/>
                <c:pt idx="0">
                  <c:v>2007.</c:v>
                </c:pt>
                <c:pt idx="1">
                  <c:v>2008.</c:v>
                </c:pt>
                <c:pt idx="2">
                  <c:v>2009.</c:v>
                </c:pt>
                <c:pt idx="3">
                  <c:v>2010.</c:v>
                </c:pt>
                <c:pt idx="4">
                  <c:v>2011.</c:v>
                </c:pt>
                <c:pt idx="5">
                  <c:v>2012.</c:v>
                </c:pt>
                <c:pt idx="6">
                  <c:v>2013.</c:v>
                </c:pt>
                <c:pt idx="7">
                  <c:v>2014.</c:v>
                </c:pt>
                <c:pt idx="8">
                  <c:v>2015.</c:v>
                </c:pt>
                <c:pt idx="9">
                  <c:v>2016.</c:v>
                </c:pt>
                <c:pt idx="10">
                  <c:v>2.017</c:v>
                </c:pt>
                <c:pt idx="11">
                  <c:v>2.018</c:v>
                </c:pt>
                <c:pt idx="12">
                  <c:v>2019.</c:v>
                </c:pt>
                <c:pt idx="13">
                  <c:v>2020.</c:v>
                </c:pt>
                <c:pt idx="14">
                  <c:v>2021.</c:v>
                </c:pt>
                <c:pt idx="15">
                  <c:v>2022.</c:v>
                </c:pt>
                <c:pt idx="16">
                  <c:v>2023.</c:v>
                </c:pt>
                <c:pt idx="17">
                  <c:v>2024.</c:v>
                </c:pt>
                <c:pt idx="18">
                  <c:v>2025.</c:v>
                </c:pt>
              </c:strCache>
            </c:strRef>
          </c:cat>
          <c:val>
            <c:numRef>
              <c:f>eur!$C$68:$U$68</c:f>
              <c:numCache>
                <c:formatCode>#,##0</c:formatCode>
                <c:ptCount val="19"/>
                <c:pt idx="0">
                  <c:v>846.84995108963449</c:v>
                </c:pt>
                <c:pt idx="1">
                  <c:v>736.52833601018654</c:v>
                </c:pt>
                <c:pt idx="2">
                  <c:v>304.75727299703931</c:v>
                </c:pt>
                <c:pt idx="3">
                  <c:v>430.4740674153461</c:v>
                </c:pt>
                <c:pt idx="4">
                  <c:v>1132.868457265783</c:v>
                </c:pt>
                <c:pt idx="5">
                  <c:v>978.99672654283177</c:v>
                </c:pt>
                <c:pt idx="6">
                  <c:v>1184.6957939586873</c:v>
                </c:pt>
                <c:pt idx="7">
                  <c:v>1118.2728515599752</c:v>
                </c:pt>
                <c:pt idx="8">
                  <c:v>1381.1122230994988</c:v>
                </c:pt>
                <c:pt idx="9">
                  <c:v>1665.8827747225</c:v>
                </c:pt>
                <c:pt idx="10">
                  <c:v>2222.2906057563505</c:v>
                </c:pt>
                <c:pt idx="11">
                  <c:v>2023.9081980594583</c:v>
                </c:pt>
                <c:pt idx="12">
                  <c:v>2380.912269905316</c:v>
                </c:pt>
                <c:pt idx="13">
                  <c:v>1356.0317324769067</c:v>
                </c:pt>
                <c:pt idx="14">
                  <c:v>1933.4613947704584</c:v>
                </c:pt>
                <c:pt idx="15">
                  <c:v>2950.7834181079306</c:v>
                </c:pt>
                <c:pt idx="16">
                  <c:v>3338.9807444865551</c:v>
                </c:pt>
                <c:pt idx="17">
                  <c:v>4548.3136564088072</c:v>
                </c:pt>
                <c:pt idx="18">
                  <c:v>4857.595231040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51-4D06-BD64-E8CD0823C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1213635200"/>
        <c:axId val="-1213630304"/>
      </c:barChart>
      <c:catAx>
        <c:axId val="-1213635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0304"/>
        <c:crosses val="autoZero"/>
        <c:auto val="1"/>
        <c:lblAlgn val="ctr"/>
        <c:lblOffset val="100"/>
        <c:noMultiLvlLbl val="0"/>
      </c:catAx>
      <c:valAx>
        <c:axId val="-1213630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5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000000"/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609841166249504E-2"/>
          <c:y val="5.1746442432082797E-2"/>
          <c:w val="0.88242139647843387"/>
          <c:h val="0.78404457528190608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'T5-4'!$F$3</c:f>
              <c:strCache>
                <c:ptCount val="1"/>
                <c:pt idx="0">
                  <c:v>2026-0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C-E134-40A6-8309-028133D9D41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E134-40A6-8309-028133D9D417}"/>
              </c:ext>
            </c:extLst>
          </c:dPt>
          <c:dPt>
            <c:idx val="14"/>
            <c:invertIfNegative val="0"/>
            <c:bubble3D val="0"/>
            <c:spPr>
              <a:solidFill>
                <a:srgbClr val="C00000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E-E134-40A6-8309-028133D9D417}"/>
              </c:ext>
            </c:extLst>
          </c:dPt>
          <c:dPt>
            <c:idx val="28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E134-40A6-8309-028133D9D417}"/>
              </c:ext>
            </c:extLst>
          </c:dPt>
          <c:cat>
            <c:strRef>
              <c:f>'T5-4'!$A$4:$A$41</c:f>
              <c:strCache>
                <c:ptCount val="38"/>
                <c:pt idx="0">
                  <c:v>Rumunija</c:v>
                </c:pt>
                <c:pt idx="1">
                  <c:v>Kosovo*</c:v>
                </c:pt>
                <c:pt idx="2">
                  <c:v>Island</c:v>
                </c:pt>
                <c:pt idx="3">
                  <c:v>Slovačka</c:v>
                </c:pt>
                <c:pt idx="4">
                  <c:v>Estonija</c:v>
                </c:pt>
                <c:pt idx="5">
                  <c:v>Hrvatska</c:v>
                </c:pt>
                <c:pt idx="6">
                  <c:v>Norveška</c:v>
                </c:pt>
                <c:pt idx="7">
                  <c:v>Zapadni Balkan</c:v>
                </c:pt>
                <c:pt idx="8">
                  <c:v>CIE</c:v>
                </c:pt>
                <c:pt idx="9">
                  <c:v>Grčka</c:v>
                </c:pt>
                <c:pt idx="10">
                  <c:v>Letonija</c:v>
                </c:pt>
                <c:pt idx="11">
                  <c:v>S. Makedonija</c:v>
                </c:pt>
                <c:pt idx="12">
                  <c:v>Litvanija</c:v>
                </c:pt>
                <c:pt idx="13">
                  <c:v>Crna Gora</c:v>
                </c:pt>
                <c:pt idx="14">
                  <c:v>Srbija</c:v>
                </c:pt>
                <c:pt idx="15">
                  <c:v>Irska</c:v>
                </c:pt>
                <c:pt idx="16">
                  <c:v>Poljska</c:v>
                </c:pt>
                <c:pt idx="17">
                  <c:v>Španija</c:v>
                </c:pt>
                <c:pt idx="18">
                  <c:v>Slovenija</c:v>
                </c:pt>
                <c:pt idx="19">
                  <c:v>Bugarska</c:v>
                </c:pt>
                <c:pt idx="20">
                  <c:v>Mađarska</c:v>
                </c:pt>
                <c:pt idx="21">
                  <c:v>Malta</c:v>
                </c:pt>
                <c:pt idx="22">
                  <c:v>Holandija</c:v>
                </c:pt>
                <c:pt idx="23">
                  <c:v>Nemačka</c:v>
                </c:pt>
                <c:pt idx="24">
                  <c:v>Albanija</c:v>
                </c:pt>
                <c:pt idx="25">
                  <c:v>Austrija</c:v>
                </c:pt>
                <c:pt idx="26">
                  <c:v>Švedska</c:v>
                </c:pt>
                <c:pt idx="27">
                  <c:v>Portugal</c:v>
                </c:pt>
                <c:pt idx="28">
                  <c:v>Evrozona</c:v>
                </c:pt>
                <c:pt idx="29">
                  <c:v>Luksemburg</c:v>
                </c:pt>
                <c:pt idx="30">
                  <c:v>Belgija</c:v>
                </c:pt>
                <c:pt idx="31">
                  <c:v>Češka</c:v>
                </c:pt>
                <c:pt idx="32">
                  <c:v>Kipar</c:v>
                </c:pt>
                <c:pt idx="33">
                  <c:v>Italija</c:v>
                </c:pt>
                <c:pt idx="34">
                  <c:v>Finska</c:v>
                </c:pt>
                <c:pt idx="35">
                  <c:v>Danska</c:v>
                </c:pt>
                <c:pt idx="36">
                  <c:v>Francuska</c:v>
                </c:pt>
                <c:pt idx="37">
                  <c:v>Švajcarska</c:v>
                </c:pt>
              </c:strCache>
            </c:strRef>
          </c:cat>
          <c:val>
            <c:numRef>
              <c:f>'T5-4'!$F$4:$F$41</c:f>
              <c:numCache>
                <c:formatCode>0.0</c:formatCode>
                <c:ptCount val="38"/>
                <c:pt idx="0">
                  <c:v>8.5</c:v>
                </c:pt>
                <c:pt idx="1">
                  <c:v>5.8</c:v>
                </c:pt>
                <c:pt idx="2">
                  <c:v>4.4000000000000004</c:v>
                </c:pt>
                <c:pt idx="3">
                  <c:v>4.3</c:v>
                </c:pt>
                <c:pt idx="4">
                  <c:v>3.8</c:v>
                </c:pt>
                <c:pt idx="5">
                  <c:v>3.6</c:v>
                </c:pt>
                <c:pt idx="6">
                  <c:v>3.5</c:v>
                </c:pt>
                <c:pt idx="7">
                  <c:v>3.3749999999999996</c:v>
                </c:pt>
                <c:pt idx="8">
                  <c:v>3.3272727272727276</c:v>
                </c:pt>
                <c:pt idx="9">
                  <c:v>2.9</c:v>
                </c:pt>
                <c:pt idx="10">
                  <c:v>2.9</c:v>
                </c:pt>
                <c:pt idx="11">
                  <c:v>2.9</c:v>
                </c:pt>
                <c:pt idx="12">
                  <c:v>2.8</c:v>
                </c:pt>
                <c:pt idx="13">
                  <c:v>2.7</c:v>
                </c:pt>
                <c:pt idx="14">
                  <c:v>2.7</c:v>
                </c:pt>
                <c:pt idx="15">
                  <c:v>2.5</c:v>
                </c:pt>
                <c:pt idx="16">
                  <c:v>2.5</c:v>
                </c:pt>
                <c:pt idx="17">
                  <c:v>2.4</c:v>
                </c:pt>
                <c:pt idx="18">
                  <c:v>2.4</c:v>
                </c:pt>
                <c:pt idx="19">
                  <c:v>2.2999999999999998</c:v>
                </c:pt>
                <c:pt idx="20">
                  <c:v>2.2999999999999998</c:v>
                </c:pt>
                <c:pt idx="21">
                  <c:v>2.2999999999999998</c:v>
                </c:pt>
                <c:pt idx="22">
                  <c:v>2.2000000000000002</c:v>
                </c:pt>
                <c:pt idx="23">
                  <c:v>2.1</c:v>
                </c:pt>
                <c:pt idx="24">
                  <c:v>2.1</c:v>
                </c:pt>
                <c:pt idx="25">
                  <c:v>2</c:v>
                </c:pt>
                <c:pt idx="26">
                  <c:v>2</c:v>
                </c:pt>
                <c:pt idx="27">
                  <c:v>1.9</c:v>
                </c:pt>
                <c:pt idx="28">
                  <c:v>1.7</c:v>
                </c:pt>
                <c:pt idx="29">
                  <c:v>1.6</c:v>
                </c:pt>
                <c:pt idx="30">
                  <c:v>1.4</c:v>
                </c:pt>
                <c:pt idx="31">
                  <c:v>1.2</c:v>
                </c:pt>
                <c:pt idx="32">
                  <c:v>1.2</c:v>
                </c:pt>
                <c:pt idx="33">
                  <c:v>1</c:v>
                </c:pt>
                <c:pt idx="34">
                  <c:v>1</c:v>
                </c:pt>
                <c:pt idx="35">
                  <c:v>0.6</c:v>
                </c:pt>
                <c:pt idx="36">
                  <c:v>0.4</c:v>
                </c:pt>
                <c:pt idx="37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E134-40A6-8309-028133D9D4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-1213634656"/>
        <c:axId val="-121363628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T5-4'!$B$3</c15:sqref>
                        </c15:formulaRef>
                      </c:ext>
                    </c:extLst>
                    <c:strCache>
                      <c:ptCount val="1"/>
                      <c:pt idx="0">
                        <c:v>2025-09</c:v>
                      </c:pt>
                    </c:strCache>
                  </c:strRef>
                </c:tx>
                <c:spPr>
                  <a:solidFill>
                    <a:srgbClr val="0070C0">
                      <a:alpha val="96000"/>
                    </a:srgbClr>
                  </a:solidFill>
                  <a:ln>
                    <a:noFill/>
                  </a:ln>
                  <a:effectLst/>
                </c:spPr>
                <c:invertIfNegative val="0"/>
                <c:dPt>
                  <c:idx val="0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4-C9F7-4324-A9A9-9323CD6D79E2}"/>
                    </c:ext>
                  </c:extLst>
                </c:dPt>
                <c:dPt>
                  <c:idx val="1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1-C9F7-4324-A9A9-9323CD6D79E2}"/>
                    </c:ext>
                  </c:extLst>
                </c:dPt>
                <c:dPt>
                  <c:idx val="2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A-9504-4FF4-AD82-381ABED4384A}"/>
                    </c:ext>
                  </c:extLst>
                </c:dPt>
                <c:dPt>
                  <c:idx val="4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5-2156-4BA3-BB93-1CF835A55A77}"/>
                    </c:ext>
                  </c:extLst>
                </c:dPt>
                <c:dPt>
                  <c:idx val="6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C-FD8E-4040-880B-E839B1779505}"/>
                    </c:ext>
                  </c:extLst>
                </c:dPt>
                <c:dPt>
                  <c:idx val="8"/>
                  <c:invertIfNegative val="0"/>
                  <c:bubble3D val="0"/>
                  <c:spPr>
                    <a:solidFill>
                      <a:srgbClr val="FFC00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6-F626-4DD0-A580-1F217EDE68DD}"/>
                    </c:ext>
                  </c:extLst>
                </c:dPt>
                <c:dPt>
                  <c:idx val="9"/>
                  <c:invertIfNegative val="0"/>
                  <c:bubble3D val="0"/>
                  <c:spPr>
                    <a:solidFill>
                      <a:srgbClr val="6CA52D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D-FD8E-4040-880B-E839B1779505}"/>
                    </c:ext>
                  </c:extLst>
                </c:dPt>
                <c:dPt>
                  <c:idx val="10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5-C9F7-4324-A9A9-9323CD6D79E2}"/>
                    </c:ext>
                  </c:extLst>
                </c:dPt>
                <c:dPt>
                  <c:idx val="11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6-2156-4BA3-BB93-1CF835A55A77}"/>
                    </c:ext>
                  </c:extLst>
                </c:dPt>
                <c:dPt>
                  <c:idx val="12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B-9504-4FF4-AD82-381ABED4384A}"/>
                    </c:ext>
                  </c:extLst>
                </c:dPt>
                <c:dPt>
                  <c:idx val="14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8-2156-4BA3-BB93-1CF835A55A77}"/>
                    </c:ext>
                  </c:extLst>
                </c:dPt>
                <c:dPt>
                  <c:idx val="15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9-C6A2-48CE-924D-5872F7926F61}"/>
                    </c:ext>
                  </c:extLst>
                </c:dPt>
                <c:dPt>
                  <c:idx val="17"/>
                  <c:invertIfNegative val="0"/>
                  <c:bubble3D val="0"/>
                  <c:spPr>
                    <a:solidFill>
                      <a:srgbClr val="C0000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F-FD8E-4040-880B-E839B1779505}"/>
                    </c:ext>
                  </c:extLst>
                </c:dPt>
                <c:dPt>
                  <c:idx val="18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D-9504-4FF4-AD82-381ABED4384A}"/>
                    </c:ext>
                  </c:extLst>
                </c:dPt>
                <c:dPt>
                  <c:idx val="19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C-9504-4FF4-AD82-381ABED4384A}"/>
                    </c:ext>
                  </c:extLst>
                </c:dPt>
                <c:dPt>
                  <c:idx val="20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7-2156-4BA3-BB93-1CF835A55A77}"/>
                    </c:ext>
                  </c:extLst>
                </c:dPt>
                <c:dPt>
                  <c:idx val="21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A-8158-49B1-B4AB-1C65534203DE}"/>
                    </c:ext>
                  </c:extLst>
                </c:dPt>
                <c:dPt>
                  <c:idx val="25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6-C9F7-4324-A9A9-9323CD6D79E2}"/>
                    </c:ext>
                  </c:extLst>
                </c:dPt>
                <c:dPt>
                  <c:idx val="26"/>
                  <c:invertIfNegative val="0"/>
                  <c:bubble3D val="0"/>
                  <c:spPr>
                    <a:solidFill>
                      <a:srgbClr val="0070C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E-FD8E-4040-880B-E839B1779505}"/>
                    </c:ext>
                  </c:extLst>
                </c:dPt>
                <c:dPt>
                  <c:idx val="31"/>
                  <c:invertIfNegative val="0"/>
                  <c:bubble3D val="0"/>
                  <c:spPr>
                    <a:solidFill>
                      <a:srgbClr val="FFFF00">
                        <a:alpha val="96000"/>
                      </a:srgb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6-717A-4C02-8156-30F8C4C218F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'T5-4'!$A$4:$A$41</c15:sqref>
                        </c15:formulaRef>
                      </c:ext>
                    </c:extLst>
                    <c:strCache>
                      <c:ptCount val="38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Island</c:v>
                      </c:pt>
                      <c:pt idx="3">
                        <c:v>Slovačka</c:v>
                      </c:pt>
                      <c:pt idx="4">
                        <c:v>Estonija</c:v>
                      </c:pt>
                      <c:pt idx="5">
                        <c:v>Hrvatska</c:v>
                      </c:pt>
                      <c:pt idx="6">
                        <c:v>Norveška</c:v>
                      </c:pt>
                      <c:pt idx="7">
                        <c:v>Zapadni Balkan</c:v>
                      </c:pt>
                      <c:pt idx="8">
                        <c:v>CIE</c:v>
                      </c:pt>
                      <c:pt idx="9">
                        <c:v>Grčka</c:v>
                      </c:pt>
                      <c:pt idx="10">
                        <c:v>Letonija</c:v>
                      </c:pt>
                      <c:pt idx="11">
                        <c:v>S. Makedonija</c:v>
                      </c:pt>
                      <c:pt idx="12">
                        <c:v>Litvanija</c:v>
                      </c:pt>
                      <c:pt idx="13">
                        <c:v>Crna Gora</c:v>
                      </c:pt>
                      <c:pt idx="14">
                        <c:v>Srbija</c:v>
                      </c:pt>
                      <c:pt idx="15">
                        <c:v>Irska</c:v>
                      </c:pt>
                      <c:pt idx="16">
                        <c:v>Poljska</c:v>
                      </c:pt>
                      <c:pt idx="17">
                        <c:v>Španija</c:v>
                      </c:pt>
                      <c:pt idx="18">
                        <c:v>Slovenija</c:v>
                      </c:pt>
                      <c:pt idx="19">
                        <c:v>Bugarska</c:v>
                      </c:pt>
                      <c:pt idx="20">
                        <c:v>Mađarska</c:v>
                      </c:pt>
                      <c:pt idx="21">
                        <c:v>Malta</c:v>
                      </c:pt>
                      <c:pt idx="22">
                        <c:v>Holandija</c:v>
                      </c:pt>
                      <c:pt idx="23">
                        <c:v>Nemačka</c:v>
                      </c:pt>
                      <c:pt idx="24">
                        <c:v>Albanija</c:v>
                      </c:pt>
                      <c:pt idx="25">
                        <c:v>Austrija</c:v>
                      </c:pt>
                      <c:pt idx="26">
                        <c:v>Švedska</c:v>
                      </c:pt>
                      <c:pt idx="27">
                        <c:v>Portugal</c:v>
                      </c:pt>
                      <c:pt idx="28">
                        <c:v>Evrozona</c:v>
                      </c:pt>
                      <c:pt idx="29">
                        <c:v>Luksemburg</c:v>
                      </c:pt>
                      <c:pt idx="30">
                        <c:v>Belgija</c:v>
                      </c:pt>
                      <c:pt idx="31">
                        <c:v>Češka</c:v>
                      </c:pt>
                      <c:pt idx="32">
                        <c:v>Kipar</c:v>
                      </c:pt>
                      <c:pt idx="33">
                        <c:v>Italija</c:v>
                      </c:pt>
                      <c:pt idx="34">
                        <c:v>Finska</c:v>
                      </c:pt>
                      <c:pt idx="35">
                        <c:v>Danska</c:v>
                      </c:pt>
                      <c:pt idx="36">
                        <c:v>Francuska</c:v>
                      </c:pt>
                      <c:pt idx="37">
                        <c:v>Švajcarsk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T5-4'!$B$4:$B$41</c15:sqref>
                        </c15:formulaRef>
                      </c:ext>
                    </c:extLst>
                    <c:numCache>
                      <c:formatCode>0.0</c:formatCode>
                      <c:ptCount val="38"/>
                      <c:pt idx="0">
                        <c:v>8.6</c:v>
                      </c:pt>
                      <c:pt idx="1">
                        <c:v>4.7</c:v>
                      </c:pt>
                      <c:pt idx="2">
                        <c:v>4.2</c:v>
                      </c:pt>
                      <c:pt idx="3">
                        <c:v>4.5999999999999996</c:v>
                      </c:pt>
                      <c:pt idx="4">
                        <c:v>5.3</c:v>
                      </c:pt>
                      <c:pt idx="5">
                        <c:v>4.5999999999999996</c:v>
                      </c:pt>
                      <c:pt idx="6">
                        <c:v>3.6</c:v>
                      </c:pt>
                      <c:pt idx="7">
                        <c:v>3.75</c:v>
                      </c:pt>
                      <c:pt idx="8">
                        <c:v>4.2727272727272725</c:v>
                      </c:pt>
                      <c:pt idx="9">
                        <c:v>1.8</c:v>
                      </c:pt>
                      <c:pt idx="10">
                        <c:v>4.2</c:v>
                      </c:pt>
                      <c:pt idx="11">
                        <c:v>3.3</c:v>
                      </c:pt>
                      <c:pt idx="12">
                        <c:v>3.7</c:v>
                      </c:pt>
                      <c:pt idx="13">
                        <c:v>4.7</c:v>
                      </c:pt>
                      <c:pt idx="14">
                        <c:v>3.2</c:v>
                      </c:pt>
                      <c:pt idx="15">
                        <c:v>2.7</c:v>
                      </c:pt>
                      <c:pt idx="16">
                        <c:v>2.9</c:v>
                      </c:pt>
                      <c:pt idx="17">
                        <c:v>3</c:v>
                      </c:pt>
                      <c:pt idx="18">
                        <c:v>2.8</c:v>
                      </c:pt>
                      <c:pt idx="19">
                        <c:v>4</c:v>
                      </c:pt>
                      <c:pt idx="20">
                        <c:v>4.3</c:v>
                      </c:pt>
                      <c:pt idx="21">
                        <c:v>2.4</c:v>
                      </c:pt>
                      <c:pt idx="22">
                        <c:v>3</c:v>
                      </c:pt>
                      <c:pt idx="23">
                        <c:v>2.2999999999999998</c:v>
                      </c:pt>
                      <c:pt idx="24">
                        <c:v>2.2999999999999998</c:v>
                      </c:pt>
                      <c:pt idx="25">
                        <c:v>3.9</c:v>
                      </c:pt>
                      <c:pt idx="26">
                        <c:v>3.2</c:v>
                      </c:pt>
                      <c:pt idx="27">
                        <c:v>1.9</c:v>
                      </c:pt>
                      <c:pt idx="28">
                        <c:v>2.2000000000000002</c:v>
                      </c:pt>
                      <c:pt idx="29">
                        <c:v>3.1</c:v>
                      </c:pt>
                      <c:pt idx="30">
                        <c:v>2.7</c:v>
                      </c:pt>
                      <c:pt idx="31">
                        <c:v>2</c:v>
                      </c:pt>
                      <c:pt idx="32">
                        <c:v>0</c:v>
                      </c:pt>
                      <c:pt idx="33">
                        <c:v>1.7</c:v>
                      </c:pt>
                      <c:pt idx="34">
                        <c:v>2.2000000000000002</c:v>
                      </c:pt>
                      <c:pt idx="35">
                        <c:v>2.2000000000000002</c:v>
                      </c:pt>
                      <c:pt idx="36">
                        <c:v>1.1000000000000001</c:v>
                      </c:pt>
                      <c:pt idx="3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C9F7-4324-A9A9-9323CD6D79E2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C$3</c15:sqref>
                        </c15:formulaRef>
                      </c:ext>
                    </c:extLst>
                    <c:strCache>
                      <c:ptCount val="1"/>
                      <c:pt idx="0">
                        <c:v>2025-10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1</c15:sqref>
                        </c15:formulaRef>
                      </c:ext>
                    </c:extLst>
                    <c:strCache>
                      <c:ptCount val="38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Island</c:v>
                      </c:pt>
                      <c:pt idx="3">
                        <c:v>Slovačka</c:v>
                      </c:pt>
                      <c:pt idx="4">
                        <c:v>Estonija</c:v>
                      </c:pt>
                      <c:pt idx="5">
                        <c:v>Hrvatska</c:v>
                      </c:pt>
                      <c:pt idx="6">
                        <c:v>Norveška</c:v>
                      </c:pt>
                      <c:pt idx="7">
                        <c:v>Zapadni Balkan</c:v>
                      </c:pt>
                      <c:pt idx="8">
                        <c:v>CIE</c:v>
                      </c:pt>
                      <c:pt idx="9">
                        <c:v>Grčka</c:v>
                      </c:pt>
                      <c:pt idx="10">
                        <c:v>Letonija</c:v>
                      </c:pt>
                      <c:pt idx="11">
                        <c:v>S. Makedonija</c:v>
                      </c:pt>
                      <c:pt idx="12">
                        <c:v>Litvanija</c:v>
                      </c:pt>
                      <c:pt idx="13">
                        <c:v>Crna Gora</c:v>
                      </c:pt>
                      <c:pt idx="14">
                        <c:v>Srbija</c:v>
                      </c:pt>
                      <c:pt idx="15">
                        <c:v>Irska</c:v>
                      </c:pt>
                      <c:pt idx="16">
                        <c:v>Poljska</c:v>
                      </c:pt>
                      <c:pt idx="17">
                        <c:v>Španija</c:v>
                      </c:pt>
                      <c:pt idx="18">
                        <c:v>Slovenija</c:v>
                      </c:pt>
                      <c:pt idx="19">
                        <c:v>Bugarska</c:v>
                      </c:pt>
                      <c:pt idx="20">
                        <c:v>Mađarska</c:v>
                      </c:pt>
                      <c:pt idx="21">
                        <c:v>Malta</c:v>
                      </c:pt>
                      <c:pt idx="22">
                        <c:v>Holandija</c:v>
                      </c:pt>
                      <c:pt idx="23">
                        <c:v>Nemačka</c:v>
                      </c:pt>
                      <c:pt idx="24">
                        <c:v>Albanija</c:v>
                      </c:pt>
                      <c:pt idx="25">
                        <c:v>Austrija</c:v>
                      </c:pt>
                      <c:pt idx="26">
                        <c:v>Švedska</c:v>
                      </c:pt>
                      <c:pt idx="27">
                        <c:v>Portugal</c:v>
                      </c:pt>
                      <c:pt idx="28">
                        <c:v>Evrozona</c:v>
                      </c:pt>
                      <c:pt idx="29">
                        <c:v>Luksemburg</c:v>
                      </c:pt>
                      <c:pt idx="30">
                        <c:v>Belgija</c:v>
                      </c:pt>
                      <c:pt idx="31">
                        <c:v>Češka</c:v>
                      </c:pt>
                      <c:pt idx="32">
                        <c:v>Kipar</c:v>
                      </c:pt>
                      <c:pt idx="33">
                        <c:v>Italija</c:v>
                      </c:pt>
                      <c:pt idx="34">
                        <c:v>Finska</c:v>
                      </c:pt>
                      <c:pt idx="35">
                        <c:v>Danska</c:v>
                      </c:pt>
                      <c:pt idx="36">
                        <c:v>Francuska</c:v>
                      </c:pt>
                      <c:pt idx="37">
                        <c:v>Švajcarsk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C$4:$C$41</c15:sqref>
                        </c15:formulaRef>
                      </c:ext>
                    </c:extLst>
                    <c:numCache>
                      <c:formatCode>0.0</c:formatCode>
                      <c:ptCount val="38"/>
                      <c:pt idx="0">
                        <c:v>8.4</c:v>
                      </c:pt>
                      <c:pt idx="1">
                        <c:v>5.0999999999999996</c:v>
                      </c:pt>
                      <c:pt idx="2">
                        <c:v>3.9</c:v>
                      </c:pt>
                      <c:pt idx="3">
                        <c:v>3.9</c:v>
                      </c:pt>
                      <c:pt idx="4">
                        <c:v>4.5</c:v>
                      </c:pt>
                      <c:pt idx="5">
                        <c:v>4</c:v>
                      </c:pt>
                      <c:pt idx="6">
                        <c:v>2.9</c:v>
                      </c:pt>
                      <c:pt idx="7">
                        <c:v>4.0750000000000002</c:v>
                      </c:pt>
                      <c:pt idx="8">
                        <c:v>4.0909090909090908</c:v>
                      </c:pt>
                      <c:pt idx="9">
                        <c:v>1.6</c:v>
                      </c:pt>
                      <c:pt idx="10">
                        <c:v>4.3</c:v>
                      </c:pt>
                      <c:pt idx="11">
                        <c:v>4.4000000000000004</c:v>
                      </c:pt>
                      <c:pt idx="12">
                        <c:v>3.7</c:v>
                      </c:pt>
                      <c:pt idx="13">
                        <c:v>4.5999999999999996</c:v>
                      </c:pt>
                      <c:pt idx="14">
                        <c:v>3.1</c:v>
                      </c:pt>
                      <c:pt idx="15">
                        <c:v>2.8</c:v>
                      </c:pt>
                      <c:pt idx="16">
                        <c:v>2.8</c:v>
                      </c:pt>
                      <c:pt idx="17">
                        <c:v>3.2</c:v>
                      </c:pt>
                      <c:pt idx="18">
                        <c:v>3.1</c:v>
                      </c:pt>
                      <c:pt idx="19">
                        <c:v>3.8</c:v>
                      </c:pt>
                      <c:pt idx="20">
                        <c:v>4.2</c:v>
                      </c:pt>
                      <c:pt idx="21">
                        <c:v>2.5</c:v>
                      </c:pt>
                      <c:pt idx="22">
                        <c:v>3</c:v>
                      </c:pt>
                      <c:pt idx="23">
                        <c:v>2.2999999999999998</c:v>
                      </c:pt>
                      <c:pt idx="24">
                        <c:v>2.2000000000000002</c:v>
                      </c:pt>
                      <c:pt idx="25">
                        <c:v>4</c:v>
                      </c:pt>
                      <c:pt idx="26">
                        <c:v>3.1</c:v>
                      </c:pt>
                      <c:pt idx="27">
                        <c:v>2</c:v>
                      </c:pt>
                      <c:pt idx="28">
                        <c:v>2.1</c:v>
                      </c:pt>
                      <c:pt idx="29">
                        <c:v>3</c:v>
                      </c:pt>
                      <c:pt idx="30">
                        <c:v>2.5</c:v>
                      </c:pt>
                      <c:pt idx="31">
                        <c:v>2.2999999999999998</c:v>
                      </c:pt>
                      <c:pt idx="32">
                        <c:v>0.2</c:v>
                      </c:pt>
                      <c:pt idx="33">
                        <c:v>1.3</c:v>
                      </c:pt>
                      <c:pt idx="34">
                        <c:v>1.4</c:v>
                      </c:pt>
                      <c:pt idx="35">
                        <c:v>2.1</c:v>
                      </c:pt>
                      <c:pt idx="36">
                        <c:v>0.8</c:v>
                      </c:pt>
                      <c:pt idx="37">
                        <c:v>0.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8-E134-40A6-8309-028133D9D417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D$3</c15:sqref>
                        </c15:formulaRef>
                      </c:ext>
                    </c:extLst>
                    <c:strCache>
                      <c:ptCount val="1"/>
                      <c:pt idx="0">
                        <c:v>2025-11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1</c15:sqref>
                        </c15:formulaRef>
                      </c:ext>
                    </c:extLst>
                    <c:strCache>
                      <c:ptCount val="38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Island</c:v>
                      </c:pt>
                      <c:pt idx="3">
                        <c:v>Slovačka</c:v>
                      </c:pt>
                      <c:pt idx="4">
                        <c:v>Estonija</c:v>
                      </c:pt>
                      <c:pt idx="5">
                        <c:v>Hrvatska</c:v>
                      </c:pt>
                      <c:pt idx="6">
                        <c:v>Norveška</c:v>
                      </c:pt>
                      <c:pt idx="7">
                        <c:v>Zapadni Balkan</c:v>
                      </c:pt>
                      <c:pt idx="8">
                        <c:v>CIE</c:v>
                      </c:pt>
                      <c:pt idx="9">
                        <c:v>Grčka</c:v>
                      </c:pt>
                      <c:pt idx="10">
                        <c:v>Letonija</c:v>
                      </c:pt>
                      <c:pt idx="11">
                        <c:v>S. Makedonija</c:v>
                      </c:pt>
                      <c:pt idx="12">
                        <c:v>Litvanija</c:v>
                      </c:pt>
                      <c:pt idx="13">
                        <c:v>Crna Gora</c:v>
                      </c:pt>
                      <c:pt idx="14">
                        <c:v>Srbija</c:v>
                      </c:pt>
                      <c:pt idx="15">
                        <c:v>Irska</c:v>
                      </c:pt>
                      <c:pt idx="16">
                        <c:v>Poljska</c:v>
                      </c:pt>
                      <c:pt idx="17">
                        <c:v>Španija</c:v>
                      </c:pt>
                      <c:pt idx="18">
                        <c:v>Slovenija</c:v>
                      </c:pt>
                      <c:pt idx="19">
                        <c:v>Bugarska</c:v>
                      </c:pt>
                      <c:pt idx="20">
                        <c:v>Mađarska</c:v>
                      </c:pt>
                      <c:pt idx="21">
                        <c:v>Malta</c:v>
                      </c:pt>
                      <c:pt idx="22">
                        <c:v>Holandija</c:v>
                      </c:pt>
                      <c:pt idx="23">
                        <c:v>Nemačka</c:v>
                      </c:pt>
                      <c:pt idx="24">
                        <c:v>Albanija</c:v>
                      </c:pt>
                      <c:pt idx="25">
                        <c:v>Austrija</c:v>
                      </c:pt>
                      <c:pt idx="26">
                        <c:v>Švedska</c:v>
                      </c:pt>
                      <c:pt idx="27">
                        <c:v>Portugal</c:v>
                      </c:pt>
                      <c:pt idx="28">
                        <c:v>Evrozona</c:v>
                      </c:pt>
                      <c:pt idx="29">
                        <c:v>Luksemburg</c:v>
                      </c:pt>
                      <c:pt idx="30">
                        <c:v>Belgija</c:v>
                      </c:pt>
                      <c:pt idx="31">
                        <c:v>Češka</c:v>
                      </c:pt>
                      <c:pt idx="32">
                        <c:v>Kipar</c:v>
                      </c:pt>
                      <c:pt idx="33">
                        <c:v>Italija</c:v>
                      </c:pt>
                      <c:pt idx="34">
                        <c:v>Finska</c:v>
                      </c:pt>
                      <c:pt idx="35">
                        <c:v>Danska</c:v>
                      </c:pt>
                      <c:pt idx="36">
                        <c:v>Francuska</c:v>
                      </c:pt>
                      <c:pt idx="37">
                        <c:v>Švajcarsk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D$4:$D$41</c15:sqref>
                        </c15:formulaRef>
                      </c:ext>
                    </c:extLst>
                    <c:numCache>
                      <c:formatCode>0.0</c:formatCode>
                      <c:ptCount val="38"/>
                      <c:pt idx="0">
                        <c:v>8.6</c:v>
                      </c:pt>
                      <c:pt idx="1">
                        <c:v>5.3</c:v>
                      </c:pt>
                      <c:pt idx="2">
                        <c:v>3.4</c:v>
                      </c:pt>
                      <c:pt idx="3">
                        <c:v>3.9</c:v>
                      </c:pt>
                      <c:pt idx="4">
                        <c:v>4.7</c:v>
                      </c:pt>
                      <c:pt idx="5">
                        <c:v>4.3</c:v>
                      </c:pt>
                      <c:pt idx="6">
                        <c:v>2.7</c:v>
                      </c:pt>
                      <c:pt idx="7">
                        <c:v>3.7250000000000001</c:v>
                      </c:pt>
                      <c:pt idx="8">
                        <c:v>3.9181818181818189</c:v>
                      </c:pt>
                      <c:pt idx="9">
                        <c:v>2.8</c:v>
                      </c:pt>
                      <c:pt idx="10">
                        <c:v>3.8</c:v>
                      </c:pt>
                      <c:pt idx="11">
                        <c:v>3.6</c:v>
                      </c:pt>
                      <c:pt idx="12">
                        <c:v>3.6</c:v>
                      </c:pt>
                      <c:pt idx="13">
                        <c:v>3.9</c:v>
                      </c:pt>
                      <c:pt idx="14">
                        <c:v>3.1</c:v>
                      </c:pt>
                      <c:pt idx="15">
                        <c:v>3.1</c:v>
                      </c:pt>
                      <c:pt idx="16">
                        <c:v>2.6</c:v>
                      </c:pt>
                      <c:pt idx="17">
                        <c:v>3.2</c:v>
                      </c:pt>
                      <c:pt idx="18">
                        <c:v>2.4</c:v>
                      </c:pt>
                      <c:pt idx="19">
                        <c:v>3.7</c:v>
                      </c:pt>
                      <c:pt idx="20">
                        <c:v>3.7</c:v>
                      </c:pt>
                      <c:pt idx="21">
                        <c:v>2.4</c:v>
                      </c:pt>
                      <c:pt idx="22">
                        <c:v>2.6</c:v>
                      </c:pt>
                      <c:pt idx="23">
                        <c:v>2.5</c:v>
                      </c:pt>
                      <c:pt idx="24">
                        <c:v>2.1</c:v>
                      </c:pt>
                      <c:pt idx="25">
                        <c:v>4</c:v>
                      </c:pt>
                      <c:pt idx="26">
                        <c:v>2.2000000000000002</c:v>
                      </c:pt>
                      <c:pt idx="27">
                        <c:v>2.1</c:v>
                      </c:pt>
                      <c:pt idx="28">
                        <c:v>2.1</c:v>
                      </c:pt>
                      <c:pt idx="29">
                        <c:v>3.5</c:v>
                      </c:pt>
                      <c:pt idx="30">
                        <c:v>2.6</c:v>
                      </c:pt>
                      <c:pt idx="31">
                        <c:v>1.8</c:v>
                      </c:pt>
                      <c:pt idx="32">
                        <c:v>0.1</c:v>
                      </c:pt>
                      <c:pt idx="33">
                        <c:v>1.1000000000000001</c:v>
                      </c:pt>
                      <c:pt idx="34">
                        <c:v>1.5</c:v>
                      </c:pt>
                      <c:pt idx="35">
                        <c:v>2</c:v>
                      </c:pt>
                      <c:pt idx="36">
                        <c:v>0.8</c:v>
                      </c:pt>
                      <c:pt idx="37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9-E134-40A6-8309-028133D9D417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E$3</c15:sqref>
                        </c15:formulaRef>
                      </c:ext>
                    </c:extLst>
                    <c:strCache>
                      <c:ptCount val="1"/>
                      <c:pt idx="0">
                        <c:v>2025-12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A$4:$A$41</c15:sqref>
                        </c15:formulaRef>
                      </c:ext>
                    </c:extLst>
                    <c:strCache>
                      <c:ptCount val="38"/>
                      <c:pt idx="0">
                        <c:v>Rumunija</c:v>
                      </c:pt>
                      <c:pt idx="1">
                        <c:v>Kosovo*</c:v>
                      </c:pt>
                      <c:pt idx="2">
                        <c:v>Island</c:v>
                      </c:pt>
                      <c:pt idx="3">
                        <c:v>Slovačka</c:v>
                      </c:pt>
                      <c:pt idx="4">
                        <c:v>Estonija</c:v>
                      </c:pt>
                      <c:pt idx="5">
                        <c:v>Hrvatska</c:v>
                      </c:pt>
                      <c:pt idx="6">
                        <c:v>Norveška</c:v>
                      </c:pt>
                      <c:pt idx="7">
                        <c:v>Zapadni Balkan</c:v>
                      </c:pt>
                      <c:pt idx="8">
                        <c:v>CIE</c:v>
                      </c:pt>
                      <c:pt idx="9">
                        <c:v>Grčka</c:v>
                      </c:pt>
                      <c:pt idx="10">
                        <c:v>Letonija</c:v>
                      </c:pt>
                      <c:pt idx="11">
                        <c:v>S. Makedonija</c:v>
                      </c:pt>
                      <c:pt idx="12">
                        <c:v>Litvanija</c:v>
                      </c:pt>
                      <c:pt idx="13">
                        <c:v>Crna Gora</c:v>
                      </c:pt>
                      <c:pt idx="14">
                        <c:v>Srbija</c:v>
                      </c:pt>
                      <c:pt idx="15">
                        <c:v>Irska</c:v>
                      </c:pt>
                      <c:pt idx="16">
                        <c:v>Poljska</c:v>
                      </c:pt>
                      <c:pt idx="17">
                        <c:v>Španija</c:v>
                      </c:pt>
                      <c:pt idx="18">
                        <c:v>Slovenija</c:v>
                      </c:pt>
                      <c:pt idx="19">
                        <c:v>Bugarska</c:v>
                      </c:pt>
                      <c:pt idx="20">
                        <c:v>Mađarska</c:v>
                      </c:pt>
                      <c:pt idx="21">
                        <c:v>Malta</c:v>
                      </c:pt>
                      <c:pt idx="22">
                        <c:v>Holandija</c:v>
                      </c:pt>
                      <c:pt idx="23">
                        <c:v>Nemačka</c:v>
                      </c:pt>
                      <c:pt idx="24">
                        <c:v>Albanija</c:v>
                      </c:pt>
                      <c:pt idx="25">
                        <c:v>Austrija</c:v>
                      </c:pt>
                      <c:pt idx="26">
                        <c:v>Švedska</c:v>
                      </c:pt>
                      <c:pt idx="27">
                        <c:v>Portugal</c:v>
                      </c:pt>
                      <c:pt idx="28">
                        <c:v>Evrozona</c:v>
                      </c:pt>
                      <c:pt idx="29">
                        <c:v>Luksemburg</c:v>
                      </c:pt>
                      <c:pt idx="30">
                        <c:v>Belgija</c:v>
                      </c:pt>
                      <c:pt idx="31">
                        <c:v>Češka</c:v>
                      </c:pt>
                      <c:pt idx="32">
                        <c:v>Kipar</c:v>
                      </c:pt>
                      <c:pt idx="33">
                        <c:v>Italija</c:v>
                      </c:pt>
                      <c:pt idx="34">
                        <c:v>Finska</c:v>
                      </c:pt>
                      <c:pt idx="35">
                        <c:v>Danska</c:v>
                      </c:pt>
                      <c:pt idx="36">
                        <c:v>Francuska</c:v>
                      </c:pt>
                      <c:pt idx="37">
                        <c:v>Švajcarsk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5-4'!$E$4:$E$41</c15:sqref>
                        </c15:formulaRef>
                      </c:ext>
                    </c:extLst>
                    <c:numCache>
                      <c:formatCode>0.0</c:formatCode>
                      <c:ptCount val="38"/>
                      <c:pt idx="0">
                        <c:v>8.6</c:v>
                      </c:pt>
                      <c:pt idx="1">
                        <c:v>5.3</c:v>
                      </c:pt>
                      <c:pt idx="2">
                        <c:v>4</c:v>
                      </c:pt>
                      <c:pt idx="3">
                        <c:v>4.0999999999999996</c:v>
                      </c:pt>
                      <c:pt idx="4">
                        <c:v>4</c:v>
                      </c:pt>
                      <c:pt idx="5">
                        <c:v>3.8</c:v>
                      </c:pt>
                      <c:pt idx="6">
                        <c:v>3</c:v>
                      </c:pt>
                      <c:pt idx="7">
                        <c:v>3.6750000000000003</c:v>
                      </c:pt>
                      <c:pt idx="8">
                        <c:v>3.709090909090909</c:v>
                      </c:pt>
                      <c:pt idx="9">
                        <c:v>2.9</c:v>
                      </c:pt>
                      <c:pt idx="10">
                        <c:v>3.4</c:v>
                      </c:pt>
                      <c:pt idx="11">
                        <c:v>3.6</c:v>
                      </c:pt>
                      <c:pt idx="12">
                        <c:v>3.2</c:v>
                      </c:pt>
                      <c:pt idx="13">
                        <c:v>3.7</c:v>
                      </c:pt>
                      <c:pt idx="14">
                        <c:v>3</c:v>
                      </c:pt>
                      <c:pt idx="15">
                        <c:v>2.7</c:v>
                      </c:pt>
                      <c:pt idx="16">
                        <c:v>2.6</c:v>
                      </c:pt>
                      <c:pt idx="17">
                        <c:v>3</c:v>
                      </c:pt>
                      <c:pt idx="18">
                        <c:v>2.6</c:v>
                      </c:pt>
                      <c:pt idx="19">
                        <c:v>3.5</c:v>
                      </c:pt>
                      <c:pt idx="20">
                        <c:v>3.3</c:v>
                      </c:pt>
                      <c:pt idx="21">
                        <c:v>2.5</c:v>
                      </c:pt>
                      <c:pt idx="22">
                        <c:v>2.7</c:v>
                      </c:pt>
                      <c:pt idx="23">
                        <c:v>2</c:v>
                      </c:pt>
                      <c:pt idx="24">
                        <c:v>2.1</c:v>
                      </c:pt>
                      <c:pt idx="25">
                        <c:v>3.8</c:v>
                      </c:pt>
                      <c:pt idx="26">
                        <c:v>2.1</c:v>
                      </c:pt>
                      <c:pt idx="27">
                        <c:v>2.4</c:v>
                      </c:pt>
                      <c:pt idx="28">
                        <c:v>2</c:v>
                      </c:pt>
                      <c:pt idx="29">
                        <c:v>3.3</c:v>
                      </c:pt>
                      <c:pt idx="30">
                        <c:v>2.2000000000000002</c:v>
                      </c:pt>
                      <c:pt idx="31">
                        <c:v>1.7</c:v>
                      </c:pt>
                      <c:pt idx="32">
                        <c:v>0.1</c:v>
                      </c:pt>
                      <c:pt idx="33">
                        <c:v>1.2</c:v>
                      </c:pt>
                      <c:pt idx="34">
                        <c:v>1.7</c:v>
                      </c:pt>
                      <c:pt idx="35">
                        <c:v>1.9</c:v>
                      </c:pt>
                      <c:pt idx="36">
                        <c:v>0.7</c:v>
                      </c:pt>
                      <c:pt idx="37">
                        <c:v>0.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A-E134-40A6-8309-028133D9D417}"/>
                  </c:ext>
                </c:extLst>
              </c15:ser>
            </c15:filteredBarSeries>
          </c:ext>
        </c:extLst>
      </c:barChart>
      <c:catAx>
        <c:axId val="-1213634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6288"/>
        <c:crosses val="autoZero"/>
        <c:auto val="1"/>
        <c:lblAlgn val="ctr"/>
        <c:lblOffset val="100"/>
        <c:noMultiLvlLbl val="0"/>
      </c:catAx>
      <c:valAx>
        <c:axId val="-1213636288"/>
        <c:scaling>
          <c:orientation val="minMax"/>
          <c:max val="9"/>
          <c:min val="-1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4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T5-2'!$A$4</c:f>
              <c:strCache>
                <c:ptCount val="1"/>
                <c:pt idx="0">
                  <c:v>Hrana 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multiLvlStrRef>
              <c:f>'T5-2'!$B$2:$S$3</c:f>
              <c:multiLvlStrCache>
                <c:ptCount val="1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jan.</c:v>
                  </c:pt>
                  <c:pt idx="17">
                    <c:v>feb.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4:$S$4</c:f>
              <c:numCache>
                <c:formatCode>0.0</c:formatCode>
                <c:ptCount val="18"/>
                <c:pt idx="0">
                  <c:v>4.4622206572769985</c:v>
                </c:pt>
                <c:pt idx="1">
                  <c:v>5.3519314079422342</c:v>
                </c:pt>
                <c:pt idx="2">
                  <c:v>5.7588608695652201</c:v>
                </c:pt>
                <c:pt idx="3">
                  <c:v>6.7783495145631107</c:v>
                </c:pt>
                <c:pt idx="4">
                  <c:v>7.5173635260816853</c:v>
                </c:pt>
                <c:pt idx="5">
                  <c:v>6.3891111951588577</c:v>
                </c:pt>
                <c:pt idx="6">
                  <c:v>4.0873434125269972</c:v>
                </c:pt>
                <c:pt idx="7">
                  <c:v>2.3333367277664636</c:v>
                </c:pt>
                <c:pt idx="8">
                  <c:v>0.65707099649792788</c:v>
                </c:pt>
                <c:pt idx="9">
                  <c:v>-0.19731467240849196</c:v>
                </c:pt>
                <c:pt idx="10">
                  <c:v>0.93666980539861944</c:v>
                </c:pt>
                <c:pt idx="11">
                  <c:v>0.98702474162229759</c:v>
                </c:pt>
                <c:pt idx="12">
                  <c:v>1.1374494556765158</c:v>
                </c:pt>
                <c:pt idx="13">
                  <c:v>1.8823048327137546</c:v>
                </c:pt>
                <c:pt idx="14">
                  <c:v>0.13667780139690133</c:v>
                </c:pt>
                <c:pt idx="15">
                  <c:v>-0.65730964467004893</c:v>
                </c:pt>
                <c:pt idx="16">
                  <c:v>-0.62555555555555653</c:v>
                </c:pt>
                <c:pt idx="17">
                  <c:v>-0.42565524193548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1-4E86-ABE5-7CB21B3348AD}"/>
            </c:ext>
          </c:extLst>
        </c:ser>
        <c:ser>
          <c:idx val="1"/>
          <c:order val="1"/>
          <c:tx>
            <c:strRef>
              <c:f>'T5-2'!$A$5</c:f>
              <c:strCache>
                <c:ptCount val="1"/>
                <c:pt idx="0">
                  <c:v>Energija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T5-2'!$B$2:$S$3</c:f>
              <c:multiLvlStrCache>
                <c:ptCount val="1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jan.</c:v>
                  </c:pt>
                  <c:pt idx="17">
                    <c:v>feb.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5:$S$5</c:f>
              <c:numCache>
                <c:formatCode>0.0</c:formatCode>
                <c:ptCount val="18"/>
                <c:pt idx="0">
                  <c:v>1.4983075648500535</c:v>
                </c:pt>
                <c:pt idx="1">
                  <c:v>2.3364853519386077</c:v>
                </c:pt>
                <c:pt idx="2">
                  <c:v>3.0427402848857321</c:v>
                </c:pt>
                <c:pt idx="3">
                  <c:v>2.5180890926798134</c:v>
                </c:pt>
                <c:pt idx="4">
                  <c:v>2.4073017836286548</c:v>
                </c:pt>
                <c:pt idx="5">
                  <c:v>1.7360811705163937</c:v>
                </c:pt>
                <c:pt idx="6">
                  <c:v>1.2518935304579299</c:v>
                </c:pt>
                <c:pt idx="7">
                  <c:v>1.305072180762807</c:v>
                </c:pt>
                <c:pt idx="8">
                  <c:v>1.1951995223104901</c:v>
                </c:pt>
                <c:pt idx="9">
                  <c:v>0.9588569197841772</c:v>
                </c:pt>
                <c:pt idx="10">
                  <c:v>-9.0548623971666076E-2</c:v>
                </c:pt>
                <c:pt idx="11">
                  <c:v>8.3031559469274444E-2</c:v>
                </c:pt>
                <c:pt idx="12">
                  <c:v>-6.4116638078901958E-2</c:v>
                </c:pt>
                <c:pt idx="13">
                  <c:v>-0.29859702914088176</c:v>
                </c:pt>
                <c:pt idx="14">
                  <c:v>0.23279303278688515</c:v>
                </c:pt>
                <c:pt idx="15">
                  <c:v>0.72051081677500073</c:v>
                </c:pt>
                <c:pt idx="16">
                  <c:v>0.46508203050409974</c:v>
                </c:pt>
                <c:pt idx="17">
                  <c:v>0.503925093166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1-4E86-ABE5-7CB21B3348AD}"/>
            </c:ext>
          </c:extLst>
        </c:ser>
        <c:ser>
          <c:idx val="2"/>
          <c:order val="2"/>
          <c:tx>
            <c:strRef>
              <c:f>'T5-2'!$A$6</c:f>
              <c:strCache>
                <c:ptCount val="1"/>
                <c:pt idx="0">
                  <c:v>Ostali proizvodi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multiLvlStrRef>
              <c:f>'T5-2'!$B$2:$S$3</c:f>
              <c:multiLvlStrCache>
                <c:ptCount val="1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jan.</c:v>
                  </c:pt>
                  <c:pt idx="17">
                    <c:v>feb.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6:$S$6</c:f>
              <c:numCache>
                <c:formatCode>0.0</c:formatCode>
                <c:ptCount val="18"/>
                <c:pt idx="0">
                  <c:v>2.1504474483298877</c:v>
                </c:pt>
                <c:pt idx="1">
                  <c:v>2.7393721000861984</c:v>
                </c:pt>
                <c:pt idx="2">
                  <c:v>3.3427201472257488</c:v>
                </c:pt>
                <c:pt idx="3">
                  <c:v>3.6403354779179553</c:v>
                </c:pt>
                <c:pt idx="4">
                  <c:v>3.5903539340124828</c:v>
                </c:pt>
                <c:pt idx="5">
                  <c:v>3.5168080203242011</c:v>
                </c:pt>
                <c:pt idx="6">
                  <c:v>2.9538220393789003</c:v>
                </c:pt>
                <c:pt idx="7">
                  <c:v>2.4043011484157599</c:v>
                </c:pt>
                <c:pt idx="8">
                  <c:v>1.8725742978594404</c:v>
                </c:pt>
                <c:pt idx="9">
                  <c:v>1.5721370948239235</c:v>
                </c:pt>
                <c:pt idx="10">
                  <c:v>1.5225630326270818</c:v>
                </c:pt>
                <c:pt idx="11">
                  <c:v>1.5404130664769904</c:v>
                </c:pt>
                <c:pt idx="12">
                  <c:v>1.7186911293338825</c:v>
                </c:pt>
                <c:pt idx="13">
                  <c:v>1.6613102139857732</c:v>
                </c:pt>
                <c:pt idx="14">
                  <c:v>1.2838187769033889</c:v>
                </c:pt>
                <c:pt idx="15">
                  <c:v>1.2295684675611083</c:v>
                </c:pt>
                <c:pt idx="16">
                  <c:v>1.0882641334231413</c:v>
                </c:pt>
                <c:pt idx="17">
                  <c:v>0.80148264049246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1-4E86-ABE5-7CB21B3348AD}"/>
            </c:ext>
          </c:extLst>
        </c:ser>
        <c:ser>
          <c:idx val="3"/>
          <c:order val="3"/>
          <c:tx>
            <c:strRef>
              <c:f>'T5-2'!$A$7</c:f>
              <c:strCache>
                <c:ptCount val="1"/>
                <c:pt idx="0">
                  <c:v>Uslug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multiLvlStrRef>
              <c:f>'T5-2'!$B$2:$S$3</c:f>
              <c:multiLvlStrCache>
                <c:ptCount val="18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jan.</c:v>
                  </c:pt>
                  <c:pt idx="17">
                    <c:v>feb.</c:v>
                  </c:pt>
                </c:lvl>
                <c:lvl>
                  <c:pt idx="0">
                    <c:v>2022</c:v>
                  </c:pt>
                  <c:pt idx="4">
                    <c:v>2023</c:v>
                  </c:pt>
                  <c:pt idx="8">
                    <c:v>2024</c:v>
                  </c:pt>
                  <c:pt idx="12">
                    <c:v>2025</c:v>
                  </c:pt>
                  <c:pt idx="16">
                    <c:v>2026</c:v>
                  </c:pt>
                </c:lvl>
              </c:multiLvlStrCache>
            </c:multiLvlStrRef>
          </c:cat>
          <c:val>
            <c:numRef>
              <c:f>'T5-2'!$B$7:$S$7</c:f>
              <c:numCache>
                <c:formatCode>0.0</c:formatCode>
                <c:ptCount val="18"/>
                <c:pt idx="0">
                  <c:v>1.051923124326525</c:v>
                </c:pt>
                <c:pt idx="1">
                  <c:v>1.4115474045915846</c:v>
                </c:pt>
                <c:pt idx="2">
                  <c:v>1.7578753187910992</c:v>
                </c:pt>
                <c:pt idx="3">
                  <c:v>2.109005532208553</c:v>
                </c:pt>
                <c:pt idx="4">
                  <c:v>2.577281716479447</c:v>
                </c:pt>
                <c:pt idx="5">
                  <c:v>2.1319277007312176</c:v>
                </c:pt>
                <c:pt idx="6">
                  <c:v>1.7930740006242221</c:v>
                </c:pt>
                <c:pt idx="7">
                  <c:v>1.4832860703336306</c:v>
                </c:pt>
                <c:pt idx="8">
                  <c:v>1.254332307373409</c:v>
                </c:pt>
                <c:pt idx="9">
                  <c:v>1.5589600240638832</c:v>
                </c:pt>
                <c:pt idx="10">
                  <c:v>1.7947991829237693</c:v>
                </c:pt>
                <c:pt idx="11">
                  <c:v>1.6707261175194776</c:v>
                </c:pt>
                <c:pt idx="12">
                  <c:v>1.5600548420778957</c:v>
                </c:pt>
                <c:pt idx="13">
                  <c:v>1.4070558211711854</c:v>
                </c:pt>
                <c:pt idx="14">
                  <c:v>1.2357982292299017</c:v>
                </c:pt>
                <c:pt idx="15">
                  <c:v>1.5386131191388221</c:v>
                </c:pt>
                <c:pt idx="16">
                  <c:v>1.6318693604590679</c:v>
                </c:pt>
                <c:pt idx="17">
                  <c:v>1.6738413915893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41-4E86-ABE5-7CB21B3348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213639552"/>
        <c:axId val="-1213633024"/>
      </c:barChart>
      <c:lineChart>
        <c:grouping val="standard"/>
        <c:varyColors val="0"/>
        <c:ser>
          <c:idx val="4"/>
          <c:order val="4"/>
          <c:tx>
            <c:strRef>
              <c:f>'T5-2'!$A$8</c:f>
              <c:strCache>
                <c:ptCount val="1"/>
                <c:pt idx="0">
                  <c:v>Ukupno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T5-2'!$B$2:$S$2</c:f>
              <c:numCache>
                <c:formatCode>General</c:formatCode>
                <c:ptCount val="18"/>
                <c:pt idx="0">
                  <c:v>2022</c:v>
                </c:pt>
                <c:pt idx="4">
                  <c:v>2023</c:v>
                </c:pt>
                <c:pt idx="8">
                  <c:v>2024</c:v>
                </c:pt>
                <c:pt idx="12">
                  <c:v>2025</c:v>
                </c:pt>
                <c:pt idx="16">
                  <c:v>2026</c:v>
                </c:pt>
              </c:numCache>
            </c:numRef>
          </c:cat>
          <c:val>
            <c:numRef>
              <c:f>'T5-2'!$B$8:$S$8</c:f>
              <c:numCache>
                <c:formatCode>0.0</c:formatCode>
                <c:ptCount val="18"/>
                <c:pt idx="0">
                  <c:v>9.1628987947834641</c:v>
                </c:pt>
                <c:pt idx="1">
                  <c:v>11.839336264558625</c:v>
                </c:pt>
                <c:pt idx="2">
                  <c:v>13.9021966204678</c:v>
                </c:pt>
                <c:pt idx="3">
                  <c:v>15.045779617369433</c:v>
                </c:pt>
                <c:pt idx="4">
                  <c:v>16.09230096020227</c:v>
                </c:pt>
                <c:pt idx="5">
                  <c:v>13.77392808673067</c:v>
                </c:pt>
                <c:pt idx="6">
                  <c:v>10.086132982988049</c:v>
                </c:pt>
                <c:pt idx="7">
                  <c:v>7.5259961272786615</c:v>
                </c:pt>
                <c:pt idx="8">
                  <c:v>4.979177124041267</c:v>
                </c:pt>
                <c:pt idx="9">
                  <c:v>3.8926393662634919</c:v>
                </c:pt>
                <c:pt idx="10">
                  <c:v>4.1634833969778047</c:v>
                </c:pt>
                <c:pt idx="11">
                  <c:v>4.2811954850880403</c:v>
                </c:pt>
                <c:pt idx="12">
                  <c:v>4.3520787890093917</c:v>
                </c:pt>
                <c:pt idx="13">
                  <c:v>4.6520738387298319</c:v>
                </c:pt>
                <c:pt idx="14">
                  <c:v>2.8890878403170772</c:v>
                </c:pt>
                <c:pt idx="15">
                  <c:v>2.8313827588048821</c:v>
                </c:pt>
                <c:pt idx="16">
                  <c:v>2.44</c:v>
                </c:pt>
                <c:pt idx="17">
                  <c:v>2.4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AA7-4945-B519-8814A5969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13639552"/>
        <c:axId val="-1213633024"/>
      </c:lineChart>
      <c:catAx>
        <c:axId val="-1213639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3024"/>
        <c:crosses val="autoZero"/>
        <c:auto val="1"/>
        <c:lblAlgn val="ctr"/>
        <c:lblOffset val="100"/>
        <c:noMultiLvlLbl val="0"/>
      </c:catAx>
      <c:valAx>
        <c:axId val="-1213633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9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229330140559026E-2"/>
          <c:y val="0.9097943687942428"/>
          <c:w val="0.89182256810610527"/>
          <c:h val="7.1074188847208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dk1"/>
      </a:solidFill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T5-6'!$C$3</c:f>
              <c:strCache>
                <c:ptCount val="1"/>
                <c:pt idx="0">
                  <c:v>WTI Price (USD/bbl)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Pt>
            <c:idx val="9"/>
            <c:marker>
              <c:symbol val="circle"/>
              <c:size val="7"/>
              <c:spPr>
                <a:solidFill>
                  <a:srgbClr val="0070C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FA1-4B51-B354-4BFD94AC80E3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0070C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FA1-4B51-B354-4BFD94AC80E3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rgbClr val="0070C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FA1-4B51-B354-4BFD94AC80E3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rgbClr val="0070C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FA1-4B51-B354-4BFD94AC80E3}"/>
              </c:ext>
            </c:extLst>
          </c:dPt>
          <c:cat>
            <c:numRef>
              <c:f>'T5-6'!$B$4:$B$37</c:f>
              <c:numCache>
                <c:formatCode>m/d/yyyy</c:formatCode>
                <c:ptCount val="34"/>
                <c:pt idx="0">
                  <c:v>46023</c:v>
                </c:pt>
                <c:pt idx="1">
                  <c:v>46024</c:v>
                </c:pt>
                <c:pt idx="2">
                  <c:v>46027</c:v>
                </c:pt>
                <c:pt idx="3">
                  <c:v>46028</c:v>
                </c:pt>
                <c:pt idx="4">
                  <c:v>46029</c:v>
                </c:pt>
                <c:pt idx="5">
                  <c:v>46030</c:v>
                </c:pt>
                <c:pt idx="6">
                  <c:v>46031</c:v>
                </c:pt>
                <c:pt idx="7">
                  <c:v>46034</c:v>
                </c:pt>
                <c:pt idx="8">
                  <c:v>46035</c:v>
                </c:pt>
                <c:pt idx="9">
                  <c:v>46036</c:v>
                </c:pt>
                <c:pt idx="10">
                  <c:v>46037</c:v>
                </c:pt>
                <c:pt idx="11">
                  <c:v>46042</c:v>
                </c:pt>
                <c:pt idx="12">
                  <c:v>46045</c:v>
                </c:pt>
                <c:pt idx="13">
                  <c:v>46052</c:v>
                </c:pt>
                <c:pt idx="14">
                  <c:v>46055</c:v>
                </c:pt>
                <c:pt idx="15">
                  <c:v>46062</c:v>
                </c:pt>
                <c:pt idx="16">
                  <c:v>46069</c:v>
                </c:pt>
                <c:pt idx="17">
                  <c:v>46073</c:v>
                </c:pt>
                <c:pt idx="18">
                  <c:v>46076</c:v>
                </c:pt>
                <c:pt idx="19">
                  <c:v>46077</c:v>
                </c:pt>
                <c:pt idx="20">
                  <c:v>46078</c:v>
                </c:pt>
                <c:pt idx="21">
                  <c:v>46079</c:v>
                </c:pt>
                <c:pt idx="22">
                  <c:v>46080</c:v>
                </c:pt>
                <c:pt idx="23">
                  <c:v>46081</c:v>
                </c:pt>
                <c:pt idx="24">
                  <c:v>46083</c:v>
                </c:pt>
                <c:pt idx="25">
                  <c:v>46084</c:v>
                </c:pt>
                <c:pt idx="26">
                  <c:v>46085</c:v>
                </c:pt>
                <c:pt idx="27">
                  <c:v>46086</c:v>
                </c:pt>
                <c:pt idx="28">
                  <c:v>46087</c:v>
                </c:pt>
                <c:pt idx="29">
                  <c:v>46090</c:v>
                </c:pt>
                <c:pt idx="30">
                  <c:v>46091</c:v>
                </c:pt>
                <c:pt idx="31">
                  <c:v>46092</c:v>
                </c:pt>
                <c:pt idx="32">
                  <c:v>46093</c:v>
                </c:pt>
                <c:pt idx="33">
                  <c:v>46094</c:v>
                </c:pt>
              </c:numCache>
            </c:numRef>
          </c:cat>
          <c:val>
            <c:numRef>
              <c:f>'T5-6'!$C$4:$C$37</c:f>
              <c:numCache>
                <c:formatCode>0.0</c:formatCode>
                <c:ptCount val="34"/>
                <c:pt idx="0">
                  <c:v>57.41</c:v>
                </c:pt>
                <c:pt idx="1">
                  <c:v>57.21</c:v>
                </c:pt>
                <c:pt idx="2">
                  <c:v>58.1</c:v>
                </c:pt>
                <c:pt idx="3">
                  <c:v>56.97</c:v>
                </c:pt>
                <c:pt idx="4">
                  <c:v>56.01</c:v>
                </c:pt>
                <c:pt idx="5">
                  <c:v>57.74</c:v>
                </c:pt>
                <c:pt idx="6">
                  <c:v>58.96</c:v>
                </c:pt>
                <c:pt idx="7">
                  <c:v>59.39</c:v>
                </c:pt>
                <c:pt idx="8">
                  <c:v>60.85</c:v>
                </c:pt>
                <c:pt idx="9">
                  <c:v>61.84</c:v>
                </c:pt>
                <c:pt idx="10">
                  <c:v>59.13</c:v>
                </c:pt>
                <c:pt idx="11">
                  <c:v>60.3</c:v>
                </c:pt>
                <c:pt idx="12">
                  <c:v>60.7</c:v>
                </c:pt>
                <c:pt idx="13">
                  <c:v>64.5</c:v>
                </c:pt>
                <c:pt idx="14">
                  <c:v>61.6</c:v>
                </c:pt>
                <c:pt idx="15">
                  <c:v>64.53</c:v>
                </c:pt>
                <c:pt idx="16">
                  <c:v>63.73</c:v>
                </c:pt>
                <c:pt idx="17">
                  <c:v>66.69</c:v>
                </c:pt>
                <c:pt idx="18">
                  <c:v>66.31</c:v>
                </c:pt>
                <c:pt idx="19">
                  <c:v>65.63</c:v>
                </c:pt>
                <c:pt idx="20">
                  <c:v>65.42</c:v>
                </c:pt>
                <c:pt idx="21">
                  <c:v>65.209999999999994</c:v>
                </c:pt>
                <c:pt idx="22">
                  <c:v>67.02</c:v>
                </c:pt>
                <c:pt idx="23">
                  <c:v>67.02</c:v>
                </c:pt>
                <c:pt idx="24">
                  <c:v>71.23</c:v>
                </c:pt>
                <c:pt idx="25">
                  <c:v>74.56</c:v>
                </c:pt>
                <c:pt idx="26">
                  <c:v>74.66</c:v>
                </c:pt>
                <c:pt idx="27">
                  <c:v>81.010000000000005</c:v>
                </c:pt>
                <c:pt idx="28">
                  <c:v>90.9</c:v>
                </c:pt>
                <c:pt idx="29">
                  <c:v>94.77</c:v>
                </c:pt>
                <c:pt idx="30">
                  <c:v>83.45</c:v>
                </c:pt>
                <c:pt idx="31">
                  <c:v>87.25</c:v>
                </c:pt>
                <c:pt idx="32">
                  <c:v>95.73</c:v>
                </c:pt>
                <c:pt idx="33">
                  <c:v>98.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A1-4B51-B354-4BFD94AC80E3}"/>
            </c:ext>
          </c:extLst>
        </c:ser>
        <c:ser>
          <c:idx val="1"/>
          <c:order val="1"/>
          <c:tx>
            <c:strRef>
              <c:f>'T5-6'!$D$3</c:f>
              <c:strCache>
                <c:ptCount val="1"/>
                <c:pt idx="0">
                  <c:v>Brent Price (USD/bbl)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Pt>
            <c:idx val="9"/>
            <c:marker>
              <c:symbol val="circle"/>
              <c:size val="7"/>
              <c:spPr>
                <a:solidFill>
                  <a:srgbClr val="C0000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FA1-4B51-B354-4BFD94AC80E3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C0000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FA1-4B51-B354-4BFD94AC80E3}"/>
              </c:ext>
            </c:extLst>
          </c:dPt>
          <c:dPt>
            <c:idx val="2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CFA1-4B51-B354-4BFD94AC80E3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rgbClr val="C0000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FA1-4B51-B354-4BFD94AC80E3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rgbClr val="C00000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FA1-4B51-B354-4BFD94AC80E3}"/>
              </c:ext>
            </c:extLst>
          </c:dPt>
          <c:cat>
            <c:numRef>
              <c:f>'T5-6'!$B$4:$B$37</c:f>
              <c:numCache>
                <c:formatCode>m/d/yyyy</c:formatCode>
                <c:ptCount val="34"/>
                <c:pt idx="0">
                  <c:v>46023</c:v>
                </c:pt>
                <c:pt idx="1">
                  <c:v>46024</c:v>
                </c:pt>
                <c:pt idx="2">
                  <c:v>46027</c:v>
                </c:pt>
                <c:pt idx="3">
                  <c:v>46028</c:v>
                </c:pt>
                <c:pt idx="4">
                  <c:v>46029</c:v>
                </c:pt>
                <c:pt idx="5">
                  <c:v>46030</c:v>
                </c:pt>
                <c:pt idx="6">
                  <c:v>46031</c:v>
                </c:pt>
                <c:pt idx="7">
                  <c:v>46034</c:v>
                </c:pt>
                <c:pt idx="8">
                  <c:v>46035</c:v>
                </c:pt>
                <c:pt idx="9">
                  <c:v>46036</c:v>
                </c:pt>
                <c:pt idx="10">
                  <c:v>46037</c:v>
                </c:pt>
                <c:pt idx="11">
                  <c:v>46042</c:v>
                </c:pt>
                <c:pt idx="12">
                  <c:v>46045</c:v>
                </c:pt>
                <c:pt idx="13">
                  <c:v>46052</c:v>
                </c:pt>
                <c:pt idx="14">
                  <c:v>46055</c:v>
                </c:pt>
                <c:pt idx="15">
                  <c:v>46062</c:v>
                </c:pt>
                <c:pt idx="16">
                  <c:v>46069</c:v>
                </c:pt>
                <c:pt idx="17">
                  <c:v>46073</c:v>
                </c:pt>
                <c:pt idx="18">
                  <c:v>46076</c:v>
                </c:pt>
                <c:pt idx="19">
                  <c:v>46077</c:v>
                </c:pt>
                <c:pt idx="20">
                  <c:v>46078</c:v>
                </c:pt>
                <c:pt idx="21">
                  <c:v>46079</c:v>
                </c:pt>
                <c:pt idx="22">
                  <c:v>46080</c:v>
                </c:pt>
                <c:pt idx="23">
                  <c:v>46081</c:v>
                </c:pt>
                <c:pt idx="24">
                  <c:v>46083</c:v>
                </c:pt>
                <c:pt idx="25">
                  <c:v>46084</c:v>
                </c:pt>
                <c:pt idx="26">
                  <c:v>46085</c:v>
                </c:pt>
                <c:pt idx="27">
                  <c:v>46086</c:v>
                </c:pt>
                <c:pt idx="28">
                  <c:v>46087</c:v>
                </c:pt>
                <c:pt idx="29">
                  <c:v>46090</c:v>
                </c:pt>
                <c:pt idx="30">
                  <c:v>46091</c:v>
                </c:pt>
                <c:pt idx="31">
                  <c:v>46092</c:v>
                </c:pt>
                <c:pt idx="32">
                  <c:v>46093</c:v>
                </c:pt>
                <c:pt idx="33">
                  <c:v>46094</c:v>
                </c:pt>
              </c:numCache>
            </c:numRef>
          </c:cat>
          <c:val>
            <c:numRef>
              <c:f>'T5-6'!$D$4:$D$37</c:f>
              <c:numCache>
                <c:formatCode>0.0</c:formatCode>
                <c:ptCount val="34"/>
                <c:pt idx="0">
                  <c:v>63.13</c:v>
                </c:pt>
                <c:pt idx="1">
                  <c:v>61.98</c:v>
                </c:pt>
                <c:pt idx="2">
                  <c:v>63</c:v>
                </c:pt>
                <c:pt idx="3">
                  <c:v>62.1</c:v>
                </c:pt>
                <c:pt idx="4">
                  <c:v>61.08</c:v>
                </c:pt>
                <c:pt idx="5">
                  <c:v>63.34</c:v>
                </c:pt>
                <c:pt idx="6">
                  <c:v>65.11</c:v>
                </c:pt>
                <c:pt idx="7">
                  <c:v>65.400000000000006</c:v>
                </c:pt>
                <c:pt idx="8">
                  <c:v>67.58</c:v>
                </c:pt>
                <c:pt idx="9">
                  <c:v>68.87</c:v>
                </c:pt>
                <c:pt idx="10">
                  <c:v>66.16</c:v>
                </c:pt>
                <c:pt idx="11">
                  <c:v>67.680000000000007</c:v>
                </c:pt>
                <c:pt idx="12">
                  <c:v>68.16</c:v>
                </c:pt>
                <c:pt idx="13">
                  <c:v>72.25</c:v>
                </c:pt>
                <c:pt idx="14">
                  <c:v>67.72</c:v>
                </c:pt>
                <c:pt idx="15">
                  <c:v>71.19</c:v>
                </c:pt>
                <c:pt idx="16">
                  <c:v>70.81</c:v>
                </c:pt>
                <c:pt idx="17">
                  <c:v>72.75</c:v>
                </c:pt>
                <c:pt idx="18">
                  <c:v>71.489999999999995</c:v>
                </c:pt>
                <c:pt idx="19">
                  <c:v>70.77</c:v>
                </c:pt>
                <c:pt idx="20">
                  <c:v>70.849999999999994</c:v>
                </c:pt>
                <c:pt idx="21">
                  <c:v>70.75</c:v>
                </c:pt>
                <c:pt idx="22">
                  <c:v>72.48</c:v>
                </c:pt>
                <c:pt idx="23">
                  <c:v>72.48</c:v>
                </c:pt>
                <c:pt idx="24">
                  <c:v>77.739999999999995</c:v>
                </c:pt>
                <c:pt idx="25">
                  <c:v>81.400000000000006</c:v>
                </c:pt>
                <c:pt idx="26">
                  <c:v>81.400000000000006</c:v>
                </c:pt>
                <c:pt idx="27">
                  <c:v>85.41</c:v>
                </c:pt>
                <c:pt idx="28">
                  <c:v>92.69</c:v>
                </c:pt>
                <c:pt idx="29">
                  <c:v>98.96</c:v>
                </c:pt>
                <c:pt idx="30">
                  <c:v>87.8</c:v>
                </c:pt>
                <c:pt idx="31">
                  <c:v>91.98</c:v>
                </c:pt>
                <c:pt idx="32">
                  <c:v>100.46</c:v>
                </c:pt>
                <c:pt idx="33">
                  <c:v>103.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A1-4B51-B354-4BFD94AC80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13635744"/>
        <c:axId val="-1213638464"/>
      </c:lineChart>
      <c:dateAx>
        <c:axId val="-121363574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8464"/>
        <c:crosses val="autoZero"/>
        <c:auto val="1"/>
        <c:lblOffset val="100"/>
        <c:baseTimeUnit val="days"/>
      </c:dateAx>
      <c:valAx>
        <c:axId val="-1213638464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dk1"/>
      </a:solidFill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abela T2-4'!$U$4</c:f>
              <c:strCache>
                <c:ptCount val="1"/>
                <c:pt idx="0">
                  <c:v>Rast BDP u 2025. godin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850-4336-9BE7-999A19263B75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850-4336-9BE7-999A19263B75}"/>
              </c:ext>
            </c:extLst>
          </c:dPt>
          <c:dPt>
            <c:idx val="12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850-4336-9BE7-999A19263B75}"/>
              </c:ext>
            </c:extLst>
          </c:dPt>
          <c:cat>
            <c:strRef>
              <c:f>'Tabela T2-4'!$T$5:$T$22</c:f>
              <c:strCache>
                <c:ptCount val="18"/>
                <c:pt idx="0">
                  <c:v>Albanija</c:v>
                </c:pt>
                <c:pt idx="1">
                  <c:v>Poljska</c:v>
                </c:pt>
                <c:pt idx="2">
                  <c:v>S. Makednija</c:v>
                </c:pt>
                <c:pt idx="3">
                  <c:v>Hrvatska</c:v>
                </c:pt>
                <c:pt idx="4">
                  <c:v>Crna Gora</c:v>
                </c:pt>
                <c:pt idx="5">
                  <c:v>Bugarska</c:v>
                </c:pt>
                <c:pt idx="6">
                  <c:v>Litvanija</c:v>
                </c:pt>
                <c:pt idx="7">
                  <c:v>Češka</c:v>
                </c:pt>
                <c:pt idx="8">
                  <c:v>CIE</c:v>
                </c:pt>
                <c:pt idx="9">
                  <c:v>Letonija</c:v>
                </c:pt>
                <c:pt idx="10">
                  <c:v>Srbija</c:v>
                </c:pt>
                <c:pt idx="11">
                  <c:v>BiH</c:v>
                </c:pt>
                <c:pt idx="12">
                  <c:v>EU27</c:v>
                </c:pt>
                <c:pt idx="13">
                  <c:v>Slovenija</c:v>
                </c:pt>
                <c:pt idx="14">
                  <c:v>Slovačka</c:v>
                </c:pt>
                <c:pt idx="15">
                  <c:v>Rumunija</c:v>
                </c:pt>
                <c:pt idx="16">
                  <c:v>Estonija</c:v>
                </c:pt>
                <c:pt idx="17">
                  <c:v>Mađarska</c:v>
                </c:pt>
              </c:strCache>
            </c:strRef>
          </c:cat>
          <c:val>
            <c:numRef>
              <c:f>'Tabela T2-4'!$U$5:$U$22</c:f>
              <c:numCache>
                <c:formatCode>0.0</c:formatCode>
                <c:ptCount val="18"/>
                <c:pt idx="0">
                  <c:v>3.7000000000000006</c:v>
                </c:pt>
                <c:pt idx="1">
                  <c:v>3.6</c:v>
                </c:pt>
                <c:pt idx="2">
                  <c:v>3.5</c:v>
                </c:pt>
                <c:pt idx="3">
                  <c:v>3.2</c:v>
                </c:pt>
                <c:pt idx="4">
                  <c:v>3.1666666666666665</c:v>
                </c:pt>
                <c:pt idx="5">
                  <c:v>3.1</c:v>
                </c:pt>
                <c:pt idx="6">
                  <c:v>2.9</c:v>
                </c:pt>
                <c:pt idx="7">
                  <c:v>2.5</c:v>
                </c:pt>
                <c:pt idx="8">
                  <c:v>2.3150338696792319</c:v>
                </c:pt>
                <c:pt idx="9">
                  <c:v>2.1</c:v>
                </c:pt>
                <c:pt idx="10">
                  <c:v>2</c:v>
                </c:pt>
                <c:pt idx="11">
                  <c:v>2</c:v>
                </c:pt>
                <c:pt idx="12">
                  <c:v>1.5</c:v>
                </c:pt>
                <c:pt idx="13">
                  <c:v>1.1000000000000001</c:v>
                </c:pt>
                <c:pt idx="14">
                  <c:v>0.8</c:v>
                </c:pt>
                <c:pt idx="15">
                  <c:v>0.7</c:v>
                </c:pt>
                <c:pt idx="16">
                  <c:v>0.6</c:v>
                </c:pt>
                <c:pt idx="17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850-4336-9BE7-999A19263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49325056"/>
        <c:axId val="-1349322880"/>
      </c:barChart>
      <c:catAx>
        <c:axId val="-1349325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22880"/>
        <c:crosses val="autoZero"/>
        <c:auto val="1"/>
        <c:lblAlgn val="ctr"/>
        <c:lblOffset val="100"/>
        <c:noMultiLvlLbl val="0"/>
      </c:catAx>
      <c:valAx>
        <c:axId val="-1349322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2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808080"/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057321809669182E-2"/>
          <c:y val="7.0217917675544791E-2"/>
          <c:w val="0.82982937802230772"/>
          <c:h val="0.69139696612726553"/>
        </c:manualLayout>
      </c:layout>
      <c:lineChart>
        <c:grouping val="standard"/>
        <c:varyColors val="0"/>
        <c:ser>
          <c:idx val="1"/>
          <c:order val="1"/>
          <c:tx>
            <c:strRef>
              <c:f>'T5-10'!$D$2</c:f>
              <c:strCache>
                <c:ptCount val="1"/>
                <c:pt idx="0">
                  <c:v>Realni kurs dinara (2025=100; leva skala)</c:v>
                </c:pt>
              </c:strCache>
            </c:strRef>
          </c:tx>
          <c:spPr>
            <a:ln w="25400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'T5-10'!$B$3:$B$181</c:f>
              <c:strCache>
                <c:ptCount val="179"/>
                <c:pt idx="0">
                  <c:v>2011m01</c:v>
                </c:pt>
                <c:pt idx="1">
                  <c:v>2011m02</c:v>
                </c:pt>
                <c:pt idx="2">
                  <c:v>2011m03</c:v>
                </c:pt>
                <c:pt idx="3">
                  <c:v>2011m04</c:v>
                </c:pt>
                <c:pt idx="4">
                  <c:v>2011m05</c:v>
                </c:pt>
                <c:pt idx="5">
                  <c:v>2011m06</c:v>
                </c:pt>
                <c:pt idx="6">
                  <c:v>2011m07</c:v>
                </c:pt>
                <c:pt idx="7">
                  <c:v>2011m08</c:v>
                </c:pt>
                <c:pt idx="8">
                  <c:v>2011m09</c:v>
                </c:pt>
                <c:pt idx="9">
                  <c:v>2011m10</c:v>
                </c:pt>
                <c:pt idx="10">
                  <c:v>2011m11</c:v>
                </c:pt>
                <c:pt idx="11">
                  <c:v>2011m12</c:v>
                </c:pt>
                <c:pt idx="12">
                  <c:v>2012m01</c:v>
                </c:pt>
                <c:pt idx="13">
                  <c:v>2012m02</c:v>
                </c:pt>
                <c:pt idx="14">
                  <c:v>2012m03</c:v>
                </c:pt>
                <c:pt idx="15">
                  <c:v>2012m04</c:v>
                </c:pt>
                <c:pt idx="16">
                  <c:v>2012m05</c:v>
                </c:pt>
                <c:pt idx="17">
                  <c:v>2012m06</c:v>
                </c:pt>
                <c:pt idx="18">
                  <c:v>2012m07</c:v>
                </c:pt>
                <c:pt idx="19">
                  <c:v>2012m08</c:v>
                </c:pt>
                <c:pt idx="20">
                  <c:v>2012m09</c:v>
                </c:pt>
                <c:pt idx="21">
                  <c:v>2012m10</c:v>
                </c:pt>
                <c:pt idx="22">
                  <c:v>2012m11</c:v>
                </c:pt>
                <c:pt idx="23">
                  <c:v>2012m12</c:v>
                </c:pt>
                <c:pt idx="24">
                  <c:v>2013m01</c:v>
                </c:pt>
                <c:pt idx="25">
                  <c:v>2013m02</c:v>
                </c:pt>
                <c:pt idx="26">
                  <c:v>2013m03</c:v>
                </c:pt>
                <c:pt idx="27">
                  <c:v>2013m04</c:v>
                </c:pt>
                <c:pt idx="28">
                  <c:v>2013m05</c:v>
                </c:pt>
                <c:pt idx="29">
                  <c:v>2013m06</c:v>
                </c:pt>
                <c:pt idx="30">
                  <c:v>2013m07</c:v>
                </c:pt>
                <c:pt idx="31">
                  <c:v>2013m08</c:v>
                </c:pt>
                <c:pt idx="32">
                  <c:v>2013m09</c:v>
                </c:pt>
                <c:pt idx="33">
                  <c:v>2013m10</c:v>
                </c:pt>
                <c:pt idx="34">
                  <c:v>2013m11</c:v>
                </c:pt>
                <c:pt idx="35">
                  <c:v>2013m12</c:v>
                </c:pt>
                <c:pt idx="36">
                  <c:v>2014m01</c:v>
                </c:pt>
                <c:pt idx="37">
                  <c:v>2014m02</c:v>
                </c:pt>
                <c:pt idx="38">
                  <c:v>2014m03</c:v>
                </c:pt>
                <c:pt idx="39">
                  <c:v>2014m04</c:v>
                </c:pt>
                <c:pt idx="40">
                  <c:v>2014m05</c:v>
                </c:pt>
                <c:pt idx="41">
                  <c:v>2014m06</c:v>
                </c:pt>
                <c:pt idx="42">
                  <c:v>2014m07</c:v>
                </c:pt>
                <c:pt idx="43">
                  <c:v>2014m08</c:v>
                </c:pt>
                <c:pt idx="44">
                  <c:v>2014m09</c:v>
                </c:pt>
                <c:pt idx="45">
                  <c:v>2014m10</c:v>
                </c:pt>
                <c:pt idx="46">
                  <c:v>2014m11</c:v>
                </c:pt>
                <c:pt idx="47">
                  <c:v>2014m12</c:v>
                </c:pt>
                <c:pt idx="48">
                  <c:v>2015m01</c:v>
                </c:pt>
                <c:pt idx="49">
                  <c:v>2015m02</c:v>
                </c:pt>
                <c:pt idx="50">
                  <c:v>2015m03</c:v>
                </c:pt>
                <c:pt idx="51">
                  <c:v>2015m04</c:v>
                </c:pt>
                <c:pt idx="52">
                  <c:v>2015m05</c:v>
                </c:pt>
                <c:pt idx="53">
                  <c:v>2015m06</c:v>
                </c:pt>
                <c:pt idx="54">
                  <c:v>2015m07</c:v>
                </c:pt>
                <c:pt idx="55">
                  <c:v>2015m08</c:v>
                </c:pt>
                <c:pt idx="56">
                  <c:v>2015m09</c:v>
                </c:pt>
                <c:pt idx="57">
                  <c:v>2015m10</c:v>
                </c:pt>
                <c:pt idx="58">
                  <c:v>2015m11</c:v>
                </c:pt>
                <c:pt idx="59">
                  <c:v>2015m12</c:v>
                </c:pt>
                <c:pt idx="60">
                  <c:v>2016m01</c:v>
                </c:pt>
                <c:pt idx="61">
                  <c:v>2016m02</c:v>
                </c:pt>
                <c:pt idx="62">
                  <c:v>2016m03</c:v>
                </c:pt>
                <c:pt idx="63">
                  <c:v>2016m04</c:v>
                </c:pt>
                <c:pt idx="64">
                  <c:v>2016m05</c:v>
                </c:pt>
                <c:pt idx="65">
                  <c:v>2016m06</c:v>
                </c:pt>
                <c:pt idx="66">
                  <c:v>2016m07</c:v>
                </c:pt>
                <c:pt idx="67">
                  <c:v>2016m08</c:v>
                </c:pt>
                <c:pt idx="68">
                  <c:v>2016m09</c:v>
                </c:pt>
                <c:pt idx="69">
                  <c:v>2016m10</c:v>
                </c:pt>
                <c:pt idx="70">
                  <c:v>2016m11</c:v>
                </c:pt>
                <c:pt idx="71">
                  <c:v>2016m12</c:v>
                </c:pt>
                <c:pt idx="72">
                  <c:v>2017m01</c:v>
                </c:pt>
                <c:pt idx="73">
                  <c:v>2017m02</c:v>
                </c:pt>
                <c:pt idx="74">
                  <c:v>2017m03</c:v>
                </c:pt>
                <c:pt idx="75">
                  <c:v>2017m04</c:v>
                </c:pt>
                <c:pt idx="76">
                  <c:v>2017m05</c:v>
                </c:pt>
                <c:pt idx="77">
                  <c:v>2017m06</c:v>
                </c:pt>
                <c:pt idx="78">
                  <c:v>2017m07</c:v>
                </c:pt>
                <c:pt idx="79">
                  <c:v>2017m08</c:v>
                </c:pt>
                <c:pt idx="80">
                  <c:v>2017m09</c:v>
                </c:pt>
                <c:pt idx="81">
                  <c:v>2017m10</c:v>
                </c:pt>
                <c:pt idx="82">
                  <c:v>2017m11</c:v>
                </c:pt>
                <c:pt idx="83">
                  <c:v>2017m12</c:v>
                </c:pt>
                <c:pt idx="84">
                  <c:v>2018m01</c:v>
                </c:pt>
                <c:pt idx="85">
                  <c:v>2018m02</c:v>
                </c:pt>
                <c:pt idx="86">
                  <c:v>2018m03</c:v>
                </c:pt>
                <c:pt idx="87">
                  <c:v>2018m04</c:v>
                </c:pt>
                <c:pt idx="88">
                  <c:v>2018m05</c:v>
                </c:pt>
                <c:pt idx="89">
                  <c:v>2018m06</c:v>
                </c:pt>
                <c:pt idx="90">
                  <c:v>2018m07</c:v>
                </c:pt>
                <c:pt idx="91">
                  <c:v>2018m08</c:v>
                </c:pt>
                <c:pt idx="92">
                  <c:v>2018m09</c:v>
                </c:pt>
                <c:pt idx="93">
                  <c:v>2018m10</c:v>
                </c:pt>
                <c:pt idx="94">
                  <c:v>2018m11</c:v>
                </c:pt>
                <c:pt idx="95">
                  <c:v>2018m12</c:v>
                </c:pt>
                <c:pt idx="96">
                  <c:v>2019m01</c:v>
                </c:pt>
                <c:pt idx="97">
                  <c:v>2019m02</c:v>
                </c:pt>
                <c:pt idx="98">
                  <c:v>2019m03</c:v>
                </c:pt>
                <c:pt idx="99">
                  <c:v>2019m04</c:v>
                </c:pt>
                <c:pt idx="100">
                  <c:v>2019m05</c:v>
                </c:pt>
                <c:pt idx="101">
                  <c:v>2019m06</c:v>
                </c:pt>
                <c:pt idx="102">
                  <c:v>2019m07</c:v>
                </c:pt>
                <c:pt idx="103">
                  <c:v>2019m08</c:v>
                </c:pt>
                <c:pt idx="104">
                  <c:v>2019m09</c:v>
                </c:pt>
                <c:pt idx="105">
                  <c:v>2019m10</c:v>
                </c:pt>
                <c:pt idx="106">
                  <c:v>2019m11</c:v>
                </c:pt>
                <c:pt idx="107">
                  <c:v>2019m12</c:v>
                </c:pt>
                <c:pt idx="108">
                  <c:v>2020m01</c:v>
                </c:pt>
                <c:pt idx="109">
                  <c:v>2020m02</c:v>
                </c:pt>
                <c:pt idx="110">
                  <c:v>2020m03</c:v>
                </c:pt>
                <c:pt idx="111">
                  <c:v>2020m04</c:v>
                </c:pt>
                <c:pt idx="112">
                  <c:v>2020m05</c:v>
                </c:pt>
                <c:pt idx="113">
                  <c:v>2020m06</c:v>
                </c:pt>
                <c:pt idx="114">
                  <c:v>2020m07</c:v>
                </c:pt>
                <c:pt idx="115">
                  <c:v>2020m08</c:v>
                </c:pt>
                <c:pt idx="116">
                  <c:v>2020m09</c:v>
                </c:pt>
                <c:pt idx="117">
                  <c:v>2020m10</c:v>
                </c:pt>
                <c:pt idx="118">
                  <c:v>2020m11</c:v>
                </c:pt>
                <c:pt idx="119">
                  <c:v>2020m12</c:v>
                </c:pt>
                <c:pt idx="120">
                  <c:v>2021m01</c:v>
                </c:pt>
                <c:pt idx="121">
                  <c:v>2021m02</c:v>
                </c:pt>
                <c:pt idx="122">
                  <c:v>2021m03</c:v>
                </c:pt>
                <c:pt idx="123">
                  <c:v>2021m04</c:v>
                </c:pt>
                <c:pt idx="124">
                  <c:v>2021m05</c:v>
                </c:pt>
                <c:pt idx="125">
                  <c:v>2021m06</c:v>
                </c:pt>
                <c:pt idx="126">
                  <c:v>2021m07</c:v>
                </c:pt>
                <c:pt idx="127">
                  <c:v>2021m08</c:v>
                </c:pt>
                <c:pt idx="128">
                  <c:v>2021m09</c:v>
                </c:pt>
                <c:pt idx="129">
                  <c:v>2021m10</c:v>
                </c:pt>
                <c:pt idx="130">
                  <c:v>2021m11</c:v>
                </c:pt>
                <c:pt idx="131">
                  <c:v>2021m12</c:v>
                </c:pt>
                <c:pt idx="132">
                  <c:v>2022m01</c:v>
                </c:pt>
                <c:pt idx="133">
                  <c:v>2022m02</c:v>
                </c:pt>
                <c:pt idx="134">
                  <c:v>2022m03</c:v>
                </c:pt>
                <c:pt idx="135">
                  <c:v>2022m04</c:v>
                </c:pt>
                <c:pt idx="136">
                  <c:v>2022m05</c:v>
                </c:pt>
                <c:pt idx="137">
                  <c:v>2022m06</c:v>
                </c:pt>
                <c:pt idx="138">
                  <c:v>2022m07</c:v>
                </c:pt>
                <c:pt idx="139">
                  <c:v>2022m08</c:v>
                </c:pt>
                <c:pt idx="140">
                  <c:v>2022m09</c:v>
                </c:pt>
                <c:pt idx="141">
                  <c:v>2022m10</c:v>
                </c:pt>
                <c:pt idx="142">
                  <c:v>2022m11</c:v>
                </c:pt>
                <c:pt idx="143">
                  <c:v>2022m12</c:v>
                </c:pt>
                <c:pt idx="144">
                  <c:v>2023m01</c:v>
                </c:pt>
                <c:pt idx="145">
                  <c:v>2023m02</c:v>
                </c:pt>
                <c:pt idx="146">
                  <c:v>2023m03</c:v>
                </c:pt>
                <c:pt idx="147">
                  <c:v>2023m04</c:v>
                </c:pt>
                <c:pt idx="148">
                  <c:v>2023m05</c:v>
                </c:pt>
                <c:pt idx="149">
                  <c:v>2023m06</c:v>
                </c:pt>
                <c:pt idx="150">
                  <c:v>2023m07</c:v>
                </c:pt>
                <c:pt idx="151">
                  <c:v>2023m08</c:v>
                </c:pt>
                <c:pt idx="152">
                  <c:v>2023m09</c:v>
                </c:pt>
                <c:pt idx="153">
                  <c:v>2023m10</c:v>
                </c:pt>
                <c:pt idx="154">
                  <c:v>2023m11</c:v>
                </c:pt>
                <c:pt idx="155">
                  <c:v>2023m12</c:v>
                </c:pt>
                <c:pt idx="156">
                  <c:v>2024m01</c:v>
                </c:pt>
                <c:pt idx="157">
                  <c:v>2024m02</c:v>
                </c:pt>
                <c:pt idx="158">
                  <c:v>2024m03</c:v>
                </c:pt>
                <c:pt idx="159">
                  <c:v>2024m04</c:v>
                </c:pt>
                <c:pt idx="160">
                  <c:v>2024m05</c:v>
                </c:pt>
                <c:pt idx="161">
                  <c:v>2024m06</c:v>
                </c:pt>
                <c:pt idx="162">
                  <c:v>2024m07</c:v>
                </c:pt>
                <c:pt idx="163">
                  <c:v>2024m08</c:v>
                </c:pt>
                <c:pt idx="164">
                  <c:v>2024m09</c:v>
                </c:pt>
                <c:pt idx="165">
                  <c:v>2024m10</c:v>
                </c:pt>
                <c:pt idx="166">
                  <c:v>2024m11</c:v>
                </c:pt>
                <c:pt idx="167">
                  <c:v>2024m12</c:v>
                </c:pt>
                <c:pt idx="168">
                  <c:v>2025m01</c:v>
                </c:pt>
                <c:pt idx="169">
                  <c:v>2025m02</c:v>
                </c:pt>
                <c:pt idx="170">
                  <c:v>2025m03</c:v>
                </c:pt>
                <c:pt idx="171">
                  <c:v>2025m04</c:v>
                </c:pt>
                <c:pt idx="172">
                  <c:v>2025m05</c:v>
                </c:pt>
                <c:pt idx="173">
                  <c:v>2025m06</c:v>
                </c:pt>
                <c:pt idx="174">
                  <c:v>2025m07</c:v>
                </c:pt>
                <c:pt idx="175">
                  <c:v>2025m08</c:v>
                </c:pt>
                <c:pt idx="176">
                  <c:v>2025m09</c:v>
                </c:pt>
                <c:pt idx="177">
                  <c:v>2025m10</c:v>
                </c:pt>
                <c:pt idx="178">
                  <c:v>2025m11</c:v>
                </c:pt>
              </c:strCache>
            </c:strRef>
          </c:cat>
          <c:val>
            <c:numRef>
              <c:f>'T5-10'!$D$3:$D$181</c:f>
              <c:numCache>
                <c:formatCode>#,##0.0</c:formatCode>
                <c:ptCount val="179"/>
                <c:pt idx="0">
                  <c:v>127.92594719325173</c:v>
                </c:pt>
                <c:pt idx="1">
                  <c:v>124.77261951176747</c:v>
                </c:pt>
                <c:pt idx="2">
                  <c:v>122.88873629372385</c:v>
                </c:pt>
                <c:pt idx="3">
                  <c:v>120.18720620053715</c:v>
                </c:pt>
                <c:pt idx="4">
                  <c:v>115.96061601456864</c:v>
                </c:pt>
                <c:pt idx="5">
                  <c:v>118.01977392922366</c:v>
                </c:pt>
                <c:pt idx="6">
                  <c:v>121.07517049261547</c:v>
                </c:pt>
                <c:pt idx="7">
                  <c:v>121.13277455671692</c:v>
                </c:pt>
                <c:pt idx="8">
                  <c:v>120.54439234909619</c:v>
                </c:pt>
                <c:pt idx="9">
                  <c:v>119.78352574129967</c:v>
                </c:pt>
                <c:pt idx="10">
                  <c:v>121.22685236253572</c:v>
                </c:pt>
                <c:pt idx="11">
                  <c:v>122.84220793623187</c:v>
                </c:pt>
                <c:pt idx="12">
                  <c:v>124.12448763915562</c:v>
                </c:pt>
                <c:pt idx="13">
                  <c:v>127.4342306239422</c:v>
                </c:pt>
                <c:pt idx="14">
                  <c:v>130.97282869100763</c:v>
                </c:pt>
                <c:pt idx="15">
                  <c:v>131.71813504729812</c:v>
                </c:pt>
                <c:pt idx="16">
                  <c:v>131.97856905932474</c:v>
                </c:pt>
                <c:pt idx="17">
                  <c:v>132.96898791732008</c:v>
                </c:pt>
                <c:pt idx="18">
                  <c:v>132.82775543673452</c:v>
                </c:pt>
                <c:pt idx="19">
                  <c:v>132.87693769925818</c:v>
                </c:pt>
                <c:pt idx="20">
                  <c:v>129.01018630311816</c:v>
                </c:pt>
                <c:pt idx="21">
                  <c:v>123.15115244833545</c:v>
                </c:pt>
                <c:pt idx="22">
                  <c:v>121.87099454775681</c:v>
                </c:pt>
                <c:pt idx="23">
                  <c:v>123.39017125223222</c:v>
                </c:pt>
                <c:pt idx="24">
                  <c:v>119.84538825198165</c:v>
                </c:pt>
                <c:pt idx="25">
                  <c:v>119.0709280591317</c:v>
                </c:pt>
                <c:pt idx="26">
                  <c:v>120.8077949922757</c:v>
                </c:pt>
                <c:pt idx="27">
                  <c:v>119.5006960660012</c:v>
                </c:pt>
                <c:pt idx="28">
                  <c:v>119.02172120457601</c:v>
                </c:pt>
                <c:pt idx="29">
                  <c:v>121.07903786658038</c:v>
                </c:pt>
                <c:pt idx="30">
                  <c:v>121.48370910567262</c:v>
                </c:pt>
                <c:pt idx="31">
                  <c:v>121.38428358414561</c:v>
                </c:pt>
                <c:pt idx="32">
                  <c:v>122.62159864642646</c:v>
                </c:pt>
                <c:pt idx="33">
                  <c:v>121.78108335341963</c:v>
                </c:pt>
                <c:pt idx="34">
                  <c:v>122.12897623847593</c:v>
                </c:pt>
                <c:pt idx="35">
                  <c:v>123.04903057872036</c:v>
                </c:pt>
                <c:pt idx="36">
                  <c:v>120.77770919058935</c:v>
                </c:pt>
                <c:pt idx="37">
                  <c:v>121.36418854146807</c:v>
                </c:pt>
                <c:pt idx="38">
                  <c:v>122.8164599588528</c:v>
                </c:pt>
                <c:pt idx="39">
                  <c:v>122.0987450463346</c:v>
                </c:pt>
                <c:pt idx="40">
                  <c:v>121.90266809678086</c:v>
                </c:pt>
                <c:pt idx="41">
                  <c:v>121.89766586942366</c:v>
                </c:pt>
                <c:pt idx="42">
                  <c:v>121.83822403339639</c:v>
                </c:pt>
                <c:pt idx="43">
                  <c:v>123.50935589355348</c:v>
                </c:pt>
                <c:pt idx="44">
                  <c:v>124.44525404625409</c:v>
                </c:pt>
                <c:pt idx="45">
                  <c:v>125.3306434692003</c:v>
                </c:pt>
                <c:pt idx="46">
                  <c:v>125.75221488963051</c:v>
                </c:pt>
                <c:pt idx="47">
                  <c:v>127.86480897046792</c:v>
                </c:pt>
                <c:pt idx="48">
                  <c:v>127.43177616810567</c:v>
                </c:pt>
                <c:pt idx="49">
                  <c:v>125.9231244425209</c:v>
                </c:pt>
                <c:pt idx="50">
                  <c:v>125.43151501331798</c:v>
                </c:pt>
                <c:pt idx="51">
                  <c:v>124.86740824806625</c:v>
                </c:pt>
                <c:pt idx="52">
                  <c:v>126.05508347913204</c:v>
                </c:pt>
                <c:pt idx="53">
                  <c:v>125.43996988382941</c:v>
                </c:pt>
                <c:pt idx="54">
                  <c:v>125.5070393095406</c:v>
                </c:pt>
                <c:pt idx="55">
                  <c:v>124.34093423732065</c:v>
                </c:pt>
                <c:pt idx="56">
                  <c:v>124.56091088455645</c:v>
                </c:pt>
                <c:pt idx="57">
                  <c:v>124.98373234009607</c:v>
                </c:pt>
                <c:pt idx="58">
                  <c:v>125.02989374253303</c:v>
                </c:pt>
                <c:pt idx="59">
                  <c:v>126.38510813460529</c:v>
                </c:pt>
                <c:pt idx="60">
                  <c:v>124.7701930681943</c:v>
                </c:pt>
                <c:pt idx="61">
                  <c:v>125.30378104817807</c:v>
                </c:pt>
                <c:pt idx="62">
                  <c:v>127.32011538916869</c:v>
                </c:pt>
                <c:pt idx="63">
                  <c:v>126.86686526518653</c:v>
                </c:pt>
                <c:pt idx="64">
                  <c:v>127.2081246395614</c:v>
                </c:pt>
                <c:pt idx="65">
                  <c:v>128.03340945779408</c:v>
                </c:pt>
                <c:pt idx="66">
                  <c:v>127.35841162666425</c:v>
                </c:pt>
                <c:pt idx="67">
                  <c:v>126.21743713397332</c:v>
                </c:pt>
                <c:pt idx="68">
                  <c:v>127.39660542199977</c:v>
                </c:pt>
                <c:pt idx="69">
                  <c:v>126.84845851561815</c:v>
                </c:pt>
                <c:pt idx="70">
                  <c:v>126.61575264222921</c:v>
                </c:pt>
                <c:pt idx="71">
                  <c:v>127.51977127073978</c:v>
                </c:pt>
                <c:pt idx="72">
                  <c:v>125.0844964252835</c:v>
                </c:pt>
                <c:pt idx="73">
                  <c:v>124.77684717837566</c:v>
                </c:pt>
                <c:pt idx="74">
                  <c:v>125.5605230687633</c:v>
                </c:pt>
                <c:pt idx="75">
                  <c:v>125.07898851711809</c:v>
                </c:pt>
                <c:pt idx="76">
                  <c:v>124.92771996165781</c:v>
                </c:pt>
                <c:pt idx="77">
                  <c:v>123.62160105280699</c:v>
                </c:pt>
                <c:pt idx="78">
                  <c:v>122.00960492088211</c:v>
                </c:pt>
                <c:pt idx="79">
                  <c:v>121.29414374376528</c:v>
                </c:pt>
                <c:pt idx="80">
                  <c:v>121.48633644264336</c:v>
                </c:pt>
                <c:pt idx="81">
                  <c:v>121.16898139048701</c:v>
                </c:pt>
                <c:pt idx="82">
                  <c:v>120.5365672865247</c:v>
                </c:pt>
                <c:pt idx="83">
                  <c:v>121.19197328365506</c:v>
                </c:pt>
                <c:pt idx="84">
                  <c:v>119.22645175312681</c:v>
                </c:pt>
                <c:pt idx="85">
                  <c:v>118.72339035083286</c:v>
                </c:pt>
                <c:pt idx="86">
                  <c:v>119.90678220599766</c:v>
                </c:pt>
                <c:pt idx="87">
                  <c:v>119.77402201129182</c:v>
                </c:pt>
                <c:pt idx="88">
                  <c:v>119.80829398391026</c:v>
                </c:pt>
                <c:pt idx="89">
                  <c:v>119.37447356057159</c:v>
                </c:pt>
                <c:pt idx="90">
                  <c:v>119.37027986875178</c:v>
                </c:pt>
                <c:pt idx="91">
                  <c:v>119.25479711235373</c:v>
                </c:pt>
                <c:pt idx="92">
                  <c:v>120.25717911419009</c:v>
                </c:pt>
                <c:pt idx="93">
                  <c:v>120.34632128204541</c:v>
                </c:pt>
                <c:pt idx="94">
                  <c:v>119.95132631491596</c:v>
                </c:pt>
                <c:pt idx="95">
                  <c:v>119.82536979883324</c:v>
                </c:pt>
                <c:pt idx="96">
                  <c:v>118.20304101578654</c:v>
                </c:pt>
                <c:pt idx="97">
                  <c:v>117.54639524668895</c:v>
                </c:pt>
                <c:pt idx="98">
                  <c:v>118.01822816634282</c:v>
                </c:pt>
                <c:pt idx="99">
                  <c:v>117.96191773600465</c:v>
                </c:pt>
                <c:pt idx="100">
                  <c:v>118.43222362708069</c:v>
                </c:pt>
                <c:pt idx="101">
                  <c:v>118.93636972977589</c:v>
                </c:pt>
                <c:pt idx="102">
                  <c:v>118.41565024061228</c:v>
                </c:pt>
                <c:pt idx="103">
                  <c:v>118.5680817061897</c:v>
                </c:pt>
                <c:pt idx="104">
                  <c:v>119.32324106386415</c:v>
                </c:pt>
                <c:pt idx="105">
                  <c:v>119.1004583224677</c:v>
                </c:pt>
                <c:pt idx="106">
                  <c:v>118.51755673427157</c:v>
                </c:pt>
                <c:pt idx="107">
                  <c:v>118.40595811615452</c:v>
                </c:pt>
                <c:pt idx="108">
                  <c:v>116.58675837279885</c:v>
                </c:pt>
                <c:pt idx="109">
                  <c:v>116.12914131419515</c:v>
                </c:pt>
                <c:pt idx="110">
                  <c:v>116.90211933557688</c:v>
                </c:pt>
                <c:pt idx="111">
                  <c:v>117.23858422351914</c:v>
                </c:pt>
                <c:pt idx="112">
                  <c:v>117.31334699515025</c:v>
                </c:pt>
                <c:pt idx="113">
                  <c:v>117.0393927525682</c:v>
                </c:pt>
                <c:pt idx="114">
                  <c:v>116.30949522969468</c:v>
                </c:pt>
                <c:pt idx="115">
                  <c:v>115.99085873801138</c:v>
                </c:pt>
                <c:pt idx="116">
                  <c:v>116.73618491764493</c:v>
                </c:pt>
                <c:pt idx="117">
                  <c:v>116.78135429794366</c:v>
                </c:pt>
                <c:pt idx="118">
                  <c:v>116.38880789304139</c:v>
                </c:pt>
                <c:pt idx="119">
                  <c:v>116.59842719465753</c:v>
                </c:pt>
                <c:pt idx="120">
                  <c:v>116.30573647581562</c:v>
                </c:pt>
                <c:pt idx="121">
                  <c:v>115.88460265498206</c:v>
                </c:pt>
                <c:pt idx="122">
                  <c:v>116.31807759753723</c:v>
                </c:pt>
                <c:pt idx="123">
                  <c:v>115.83833206118584</c:v>
                </c:pt>
                <c:pt idx="124">
                  <c:v>115.50916472682563</c:v>
                </c:pt>
                <c:pt idx="125">
                  <c:v>115.47269944920517</c:v>
                </c:pt>
                <c:pt idx="126">
                  <c:v>115.06554682136742</c:v>
                </c:pt>
                <c:pt idx="127">
                  <c:v>114.52575216916095</c:v>
                </c:pt>
                <c:pt idx="128">
                  <c:v>114.12515963802259</c:v>
                </c:pt>
                <c:pt idx="129">
                  <c:v>114.02315763448951</c:v>
                </c:pt>
                <c:pt idx="130">
                  <c:v>113.48288062799134</c:v>
                </c:pt>
                <c:pt idx="131">
                  <c:v>113.52301754218676</c:v>
                </c:pt>
                <c:pt idx="132">
                  <c:v>112.97620423072925</c:v>
                </c:pt>
                <c:pt idx="133">
                  <c:v>112.864108311699</c:v>
                </c:pt>
                <c:pt idx="134">
                  <c:v>114.65340990112307</c:v>
                </c:pt>
                <c:pt idx="135">
                  <c:v>113.62186177976025</c:v>
                </c:pt>
                <c:pt idx="136">
                  <c:v>113.12103096402475</c:v>
                </c:pt>
                <c:pt idx="137">
                  <c:v>112.10236232429546</c:v>
                </c:pt>
                <c:pt idx="138">
                  <c:v>110.97377664578759</c:v>
                </c:pt>
                <c:pt idx="139">
                  <c:v>110.2648370761046</c:v>
                </c:pt>
                <c:pt idx="140">
                  <c:v>109.96143659014463</c:v>
                </c:pt>
                <c:pt idx="141">
                  <c:v>109.49889701998259</c:v>
                </c:pt>
                <c:pt idx="142">
                  <c:v>108.41528246001188</c:v>
                </c:pt>
                <c:pt idx="143">
                  <c:v>107.55067172407153</c:v>
                </c:pt>
                <c:pt idx="144">
                  <c:v>105.92223498649787</c:v>
                </c:pt>
                <c:pt idx="145">
                  <c:v>105.30807771370897</c:v>
                </c:pt>
                <c:pt idx="146">
                  <c:v>105.30647838139815</c:v>
                </c:pt>
                <c:pt idx="147">
                  <c:v>105.25438312379555</c:v>
                </c:pt>
                <c:pt idx="148">
                  <c:v>104.36949429110726</c:v>
                </c:pt>
                <c:pt idx="149">
                  <c:v>103.8298843684354</c:v>
                </c:pt>
                <c:pt idx="150">
                  <c:v>103.81473489669845</c:v>
                </c:pt>
                <c:pt idx="151">
                  <c:v>103.92711060712958</c:v>
                </c:pt>
                <c:pt idx="152">
                  <c:v>104.01532881937922</c:v>
                </c:pt>
                <c:pt idx="153">
                  <c:v>103.75192116887585</c:v>
                </c:pt>
                <c:pt idx="154">
                  <c:v>102.63990626393503</c:v>
                </c:pt>
                <c:pt idx="155">
                  <c:v>102.68404542552517</c:v>
                </c:pt>
                <c:pt idx="156">
                  <c:v>102.1354947997648</c:v>
                </c:pt>
                <c:pt idx="157">
                  <c:v>102.08468216905044</c:v>
                </c:pt>
                <c:pt idx="158" formatCode="0.0">
                  <c:v>102.6494614046633</c:v>
                </c:pt>
                <c:pt idx="159" formatCode="0.0">
                  <c:v>102.43722087553677</c:v>
                </c:pt>
                <c:pt idx="160" formatCode="0.0">
                  <c:v>102.31604353542711</c:v>
                </c:pt>
                <c:pt idx="161" formatCode="0.0">
                  <c:v>102.4154033094423</c:v>
                </c:pt>
                <c:pt idx="162" formatCode="0.0">
                  <c:v>101.92353530479474</c:v>
                </c:pt>
                <c:pt idx="163" formatCode="0.0">
                  <c:v>101.64166036327593</c:v>
                </c:pt>
                <c:pt idx="164" formatCode="0.0">
                  <c:v>101.45835126389579</c:v>
                </c:pt>
                <c:pt idx="165" formatCode="0.0">
                  <c:v>101.13247389031137</c:v>
                </c:pt>
                <c:pt idx="166" formatCode="0.0">
                  <c:v>100.47676776603448</c:v>
                </c:pt>
                <c:pt idx="167" formatCode="0.0">
                  <c:v>100.70332846375891</c:v>
                </c:pt>
                <c:pt idx="168" formatCode="0.0">
                  <c:v>99.962542597401864</c:v>
                </c:pt>
                <c:pt idx="169" formatCode="0.0">
                  <c:v>99.89605136066946</c:v>
                </c:pt>
                <c:pt idx="170" formatCode="0.0">
                  <c:v>100.42891066738731</c:v>
                </c:pt>
                <c:pt idx="171" formatCode="0.0">
                  <c:v>100.70638810343543</c:v>
                </c:pt>
                <c:pt idx="172" formatCode="0.0">
                  <c:v>100.47479569340241</c:v>
                </c:pt>
                <c:pt idx="173" formatCode="0.0">
                  <c:v>99.855872654295979</c:v>
                </c:pt>
                <c:pt idx="174" formatCode="0.0">
                  <c:v>99.27533341270329</c:v>
                </c:pt>
                <c:pt idx="175" formatCode="0.0">
                  <c:v>99.224700899177861</c:v>
                </c:pt>
                <c:pt idx="176" formatCode="0.0">
                  <c:v>100.90310695949989</c:v>
                </c:pt>
                <c:pt idx="177" formatCode="0.0">
                  <c:v>100.63420135104123</c:v>
                </c:pt>
                <c:pt idx="178" formatCode="0.0">
                  <c:v>100.09102538569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01-411D-9431-FEDD78BDF6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13633568"/>
        <c:axId val="-1213632480"/>
      </c:lineChart>
      <c:lineChart>
        <c:grouping val="standard"/>
        <c:varyColors val="0"/>
        <c:ser>
          <c:idx val="0"/>
          <c:order val="0"/>
          <c:tx>
            <c:strRef>
              <c:f>'T5-10'!$C$2</c:f>
              <c:strCache>
                <c:ptCount val="1"/>
                <c:pt idx="0">
                  <c:v>Nominalni kurs dinara(desna skala)</c:v>
                </c:pt>
              </c:strCache>
            </c:strRef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strRef>
              <c:f>'T5-10'!$B$3:$B$181</c:f>
              <c:strCache>
                <c:ptCount val="179"/>
                <c:pt idx="0">
                  <c:v>2011m01</c:v>
                </c:pt>
                <c:pt idx="1">
                  <c:v>2011m02</c:v>
                </c:pt>
                <c:pt idx="2">
                  <c:v>2011m03</c:v>
                </c:pt>
                <c:pt idx="3">
                  <c:v>2011m04</c:v>
                </c:pt>
                <c:pt idx="4">
                  <c:v>2011m05</c:v>
                </c:pt>
                <c:pt idx="5">
                  <c:v>2011m06</c:v>
                </c:pt>
                <c:pt idx="6">
                  <c:v>2011m07</c:v>
                </c:pt>
                <c:pt idx="7">
                  <c:v>2011m08</c:v>
                </c:pt>
                <c:pt idx="8">
                  <c:v>2011m09</c:v>
                </c:pt>
                <c:pt idx="9">
                  <c:v>2011m10</c:v>
                </c:pt>
                <c:pt idx="10">
                  <c:v>2011m11</c:v>
                </c:pt>
                <c:pt idx="11">
                  <c:v>2011m12</c:v>
                </c:pt>
                <c:pt idx="12">
                  <c:v>2012m01</c:v>
                </c:pt>
                <c:pt idx="13">
                  <c:v>2012m02</c:v>
                </c:pt>
                <c:pt idx="14">
                  <c:v>2012m03</c:v>
                </c:pt>
                <c:pt idx="15">
                  <c:v>2012m04</c:v>
                </c:pt>
                <c:pt idx="16">
                  <c:v>2012m05</c:v>
                </c:pt>
                <c:pt idx="17">
                  <c:v>2012m06</c:v>
                </c:pt>
                <c:pt idx="18">
                  <c:v>2012m07</c:v>
                </c:pt>
                <c:pt idx="19">
                  <c:v>2012m08</c:v>
                </c:pt>
                <c:pt idx="20">
                  <c:v>2012m09</c:v>
                </c:pt>
                <c:pt idx="21">
                  <c:v>2012m10</c:v>
                </c:pt>
                <c:pt idx="22">
                  <c:v>2012m11</c:v>
                </c:pt>
                <c:pt idx="23">
                  <c:v>2012m12</c:v>
                </c:pt>
                <c:pt idx="24">
                  <c:v>2013m01</c:v>
                </c:pt>
                <c:pt idx="25">
                  <c:v>2013m02</c:v>
                </c:pt>
                <c:pt idx="26">
                  <c:v>2013m03</c:v>
                </c:pt>
                <c:pt idx="27">
                  <c:v>2013m04</c:v>
                </c:pt>
                <c:pt idx="28">
                  <c:v>2013m05</c:v>
                </c:pt>
                <c:pt idx="29">
                  <c:v>2013m06</c:v>
                </c:pt>
                <c:pt idx="30">
                  <c:v>2013m07</c:v>
                </c:pt>
                <c:pt idx="31">
                  <c:v>2013m08</c:v>
                </c:pt>
                <c:pt idx="32">
                  <c:v>2013m09</c:v>
                </c:pt>
                <c:pt idx="33">
                  <c:v>2013m10</c:v>
                </c:pt>
                <c:pt idx="34">
                  <c:v>2013m11</c:v>
                </c:pt>
                <c:pt idx="35">
                  <c:v>2013m12</c:v>
                </c:pt>
                <c:pt idx="36">
                  <c:v>2014m01</c:v>
                </c:pt>
                <c:pt idx="37">
                  <c:v>2014m02</c:v>
                </c:pt>
                <c:pt idx="38">
                  <c:v>2014m03</c:v>
                </c:pt>
                <c:pt idx="39">
                  <c:v>2014m04</c:v>
                </c:pt>
                <c:pt idx="40">
                  <c:v>2014m05</c:v>
                </c:pt>
                <c:pt idx="41">
                  <c:v>2014m06</c:v>
                </c:pt>
                <c:pt idx="42">
                  <c:v>2014m07</c:v>
                </c:pt>
                <c:pt idx="43">
                  <c:v>2014m08</c:v>
                </c:pt>
                <c:pt idx="44">
                  <c:v>2014m09</c:v>
                </c:pt>
                <c:pt idx="45">
                  <c:v>2014m10</c:v>
                </c:pt>
                <c:pt idx="46">
                  <c:v>2014m11</c:v>
                </c:pt>
                <c:pt idx="47">
                  <c:v>2014m12</c:v>
                </c:pt>
                <c:pt idx="48">
                  <c:v>2015m01</c:v>
                </c:pt>
                <c:pt idx="49">
                  <c:v>2015m02</c:v>
                </c:pt>
                <c:pt idx="50">
                  <c:v>2015m03</c:v>
                </c:pt>
                <c:pt idx="51">
                  <c:v>2015m04</c:v>
                </c:pt>
                <c:pt idx="52">
                  <c:v>2015m05</c:v>
                </c:pt>
                <c:pt idx="53">
                  <c:v>2015m06</c:v>
                </c:pt>
                <c:pt idx="54">
                  <c:v>2015m07</c:v>
                </c:pt>
                <c:pt idx="55">
                  <c:v>2015m08</c:v>
                </c:pt>
                <c:pt idx="56">
                  <c:v>2015m09</c:v>
                </c:pt>
                <c:pt idx="57">
                  <c:v>2015m10</c:v>
                </c:pt>
                <c:pt idx="58">
                  <c:v>2015m11</c:v>
                </c:pt>
                <c:pt idx="59">
                  <c:v>2015m12</c:v>
                </c:pt>
                <c:pt idx="60">
                  <c:v>2016m01</c:v>
                </c:pt>
                <c:pt idx="61">
                  <c:v>2016m02</c:v>
                </c:pt>
                <c:pt idx="62">
                  <c:v>2016m03</c:v>
                </c:pt>
                <c:pt idx="63">
                  <c:v>2016m04</c:v>
                </c:pt>
                <c:pt idx="64">
                  <c:v>2016m05</c:v>
                </c:pt>
                <c:pt idx="65">
                  <c:v>2016m06</c:v>
                </c:pt>
                <c:pt idx="66">
                  <c:v>2016m07</c:v>
                </c:pt>
                <c:pt idx="67">
                  <c:v>2016m08</c:v>
                </c:pt>
                <c:pt idx="68">
                  <c:v>2016m09</c:v>
                </c:pt>
                <c:pt idx="69">
                  <c:v>2016m10</c:v>
                </c:pt>
                <c:pt idx="70">
                  <c:v>2016m11</c:v>
                </c:pt>
                <c:pt idx="71">
                  <c:v>2016m12</c:v>
                </c:pt>
                <c:pt idx="72">
                  <c:v>2017m01</c:v>
                </c:pt>
                <c:pt idx="73">
                  <c:v>2017m02</c:v>
                </c:pt>
                <c:pt idx="74">
                  <c:v>2017m03</c:v>
                </c:pt>
                <c:pt idx="75">
                  <c:v>2017m04</c:v>
                </c:pt>
                <c:pt idx="76">
                  <c:v>2017m05</c:v>
                </c:pt>
                <c:pt idx="77">
                  <c:v>2017m06</c:v>
                </c:pt>
                <c:pt idx="78">
                  <c:v>2017m07</c:v>
                </c:pt>
                <c:pt idx="79">
                  <c:v>2017m08</c:v>
                </c:pt>
                <c:pt idx="80">
                  <c:v>2017m09</c:v>
                </c:pt>
                <c:pt idx="81">
                  <c:v>2017m10</c:v>
                </c:pt>
                <c:pt idx="82">
                  <c:v>2017m11</c:v>
                </c:pt>
                <c:pt idx="83">
                  <c:v>2017m12</c:v>
                </c:pt>
                <c:pt idx="84">
                  <c:v>2018m01</c:v>
                </c:pt>
                <c:pt idx="85">
                  <c:v>2018m02</c:v>
                </c:pt>
                <c:pt idx="86">
                  <c:v>2018m03</c:v>
                </c:pt>
                <c:pt idx="87">
                  <c:v>2018m04</c:v>
                </c:pt>
                <c:pt idx="88">
                  <c:v>2018m05</c:v>
                </c:pt>
                <c:pt idx="89">
                  <c:v>2018m06</c:v>
                </c:pt>
                <c:pt idx="90">
                  <c:v>2018m07</c:v>
                </c:pt>
                <c:pt idx="91">
                  <c:v>2018m08</c:v>
                </c:pt>
                <c:pt idx="92">
                  <c:v>2018m09</c:v>
                </c:pt>
                <c:pt idx="93">
                  <c:v>2018m10</c:v>
                </c:pt>
                <c:pt idx="94">
                  <c:v>2018m11</c:v>
                </c:pt>
                <c:pt idx="95">
                  <c:v>2018m12</c:v>
                </c:pt>
                <c:pt idx="96">
                  <c:v>2019m01</c:v>
                </c:pt>
                <c:pt idx="97">
                  <c:v>2019m02</c:v>
                </c:pt>
                <c:pt idx="98">
                  <c:v>2019m03</c:v>
                </c:pt>
                <c:pt idx="99">
                  <c:v>2019m04</c:v>
                </c:pt>
                <c:pt idx="100">
                  <c:v>2019m05</c:v>
                </c:pt>
                <c:pt idx="101">
                  <c:v>2019m06</c:v>
                </c:pt>
                <c:pt idx="102">
                  <c:v>2019m07</c:v>
                </c:pt>
                <c:pt idx="103">
                  <c:v>2019m08</c:v>
                </c:pt>
                <c:pt idx="104">
                  <c:v>2019m09</c:v>
                </c:pt>
                <c:pt idx="105">
                  <c:v>2019m10</c:v>
                </c:pt>
                <c:pt idx="106">
                  <c:v>2019m11</c:v>
                </c:pt>
                <c:pt idx="107">
                  <c:v>2019m12</c:v>
                </c:pt>
                <c:pt idx="108">
                  <c:v>2020m01</c:v>
                </c:pt>
                <c:pt idx="109">
                  <c:v>2020m02</c:v>
                </c:pt>
                <c:pt idx="110">
                  <c:v>2020m03</c:v>
                </c:pt>
                <c:pt idx="111">
                  <c:v>2020m04</c:v>
                </c:pt>
                <c:pt idx="112">
                  <c:v>2020m05</c:v>
                </c:pt>
                <c:pt idx="113">
                  <c:v>2020m06</c:v>
                </c:pt>
                <c:pt idx="114">
                  <c:v>2020m07</c:v>
                </c:pt>
                <c:pt idx="115">
                  <c:v>2020m08</c:v>
                </c:pt>
                <c:pt idx="116">
                  <c:v>2020m09</c:v>
                </c:pt>
                <c:pt idx="117">
                  <c:v>2020m10</c:v>
                </c:pt>
                <c:pt idx="118">
                  <c:v>2020m11</c:v>
                </c:pt>
                <c:pt idx="119">
                  <c:v>2020m12</c:v>
                </c:pt>
                <c:pt idx="120">
                  <c:v>2021m01</c:v>
                </c:pt>
                <c:pt idx="121">
                  <c:v>2021m02</c:v>
                </c:pt>
                <c:pt idx="122">
                  <c:v>2021m03</c:v>
                </c:pt>
                <c:pt idx="123">
                  <c:v>2021m04</c:v>
                </c:pt>
                <c:pt idx="124">
                  <c:v>2021m05</c:v>
                </c:pt>
                <c:pt idx="125">
                  <c:v>2021m06</c:v>
                </c:pt>
                <c:pt idx="126">
                  <c:v>2021m07</c:v>
                </c:pt>
                <c:pt idx="127">
                  <c:v>2021m08</c:v>
                </c:pt>
                <c:pt idx="128">
                  <c:v>2021m09</c:v>
                </c:pt>
                <c:pt idx="129">
                  <c:v>2021m10</c:v>
                </c:pt>
                <c:pt idx="130">
                  <c:v>2021m11</c:v>
                </c:pt>
                <c:pt idx="131">
                  <c:v>2021m12</c:v>
                </c:pt>
                <c:pt idx="132">
                  <c:v>2022m01</c:v>
                </c:pt>
                <c:pt idx="133">
                  <c:v>2022m02</c:v>
                </c:pt>
                <c:pt idx="134">
                  <c:v>2022m03</c:v>
                </c:pt>
                <c:pt idx="135">
                  <c:v>2022m04</c:v>
                </c:pt>
                <c:pt idx="136">
                  <c:v>2022m05</c:v>
                </c:pt>
                <c:pt idx="137">
                  <c:v>2022m06</c:v>
                </c:pt>
                <c:pt idx="138">
                  <c:v>2022m07</c:v>
                </c:pt>
                <c:pt idx="139">
                  <c:v>2022m08</c:v>
                </c:pt>
                <c:pt idx="140">
                  <c:v>2022m09</c:v>
                </c:pt>
                <c:pt idx="141">
                  <c:v>2022m10</c:v>
                </c:pt>
                <c:pt idx="142">
                  <c:v>2022m11</c:v>
                </c:pt>
                <c:pt idx="143">
                  <c:v>2022m12</c:v>
                </c:pt>
                <c:pt idx="144">
                  <c:v>2023m01</c:v>
                </c:pt>
                <c:pt idx="145">
                  <c:v>2023m02</c:v>
                </c:pt>
                <c:pt idx="146">
                  <c:v>2023m03</c:v>
                </c:pt>
                <c:pt idx="147">
                  <c:v>2023m04</c:v>
                </c:pt>
                <c:pt idx="148">
                  <c:v>2023m05</c:v>
                </c:pt>
                <c:pt idx="149">
                  <c:v>2023m06</c:v>
                </c:pt>
                <c:pt idx="150">
                  <c:v>2023m07</c:v>
                </c:pt>
                <c:pt idx="151">
                  <c:v>2023m08</c:v>
                </c:pt>
                <c:pt idx="152">
                  <c:v>2023m09</c:v>
                </c:pt>
                <c:pt idx="153">
                  <c:v>2023m10</c:v>
                </c:pt>
                <c:pt idx="154">
                  <c:v>2023m11</c:v>
                </c:pt>
                <c:pt idx="155">
                  <c:v>2023m12</c:v>
                </c:pt>
                <c:pt idx="156">
                  <c:v>2024m01</c:v>
                </c:pt>
                <c:pt idx="157">
                  <c:v>2024m02</c:v>
                </c:pt>
                <c:pt idx="158">
                  <c:v>2024m03</c:v>
                </c:pt>
                <c:pt idx="159">
                  <c:v>2024m04</c:v>
                </c:pt>
                <c:pt idx="160">
                  <c:v>2024m05</c:v>
                </c:pt>
                <c:pt idx="161">
                  <c:v>2024m06</c:v>
                </c:pt>
                <c:pt idx="162">
                  <c:v>2024m07</c:v>
                </c:pt>
                <c:pt idx="163">
                  <c:v>2024m08</c:v>
                </c:pt>
                <c:pt idx="164">
                  <c:v>2024m09</c:v>
                </c:pt>
                <c:pt idx="165">
                  <c:v>2024m10</c:v>
                </c:pt>
                <c:pt idx="166">
                  <c:v>2024m11</c:v>
                </c:pt>
                <c:pt idx="167">
                  <c:v>2024m12</c:v>
                </c:pt>
                <c:pt idx="168">
                  <c:v>2025m01</c:v>
                </c:pt>
                <c:pt idx="169">
                  <c:v>2025m02</c:v>
                </c:pt>
                <c:pt idx="170">
                  <c:v>2025m03</c:v>
                </c:pt>
                <c:pt idx="171">
                  <c:v>2025m04</c:v>
                </c:pt>
                <c:pt idx="172">
                  <c:v>2025m05</c:v>
                </c:pt>
                <c:pt idx="173">
                  <c:v>2025m06</c:v>
                </c:pt>
                <c:pt idx="174">
                  <c:v>2025m07</c:v>
                </c:pt>
                <c:pt idx="175">
                  <c:v>2025m08</c:v>
                </c:pt>
                <c:pt idx="176">
                  <c:v>2025m09</c:v>
                </c:pt>
                <c:pt idx="177">
                  <c:v>2025m10</c:v>
                </c:pt>
                <c:pt idx="178">
                  <c:v>2025m11</c:v>
                </c:pt>
              </c:strCache>
            </c:strRef>
          </c:cat>
          <c:val>
            <c:numRef>
              <c:f>'T5-10'!$C$3:$C$181</c:f>
              <c:numCache>
                <c:formatCode>#,##0.0</c:formatCode>
                <c:ptCount val="179"/>
                <c:pt idx="0">
                  <c:v>105.13500000000001</c:v>
                </c:pt>
                <c:pt idx="1">
                  <c:v>103.5239</c:v>
                </c:pt>
                <c:pt idx="2">
                  <c:v>103.3352</c:v>
                </c:pt>
                <c:pt idx="3">
                  <c:v>101.4395</c:v>
                </c:pt>
                <c:pt idx="4">
                  <c:v>98.237399999999994</c:v>
                </c:pt>
                <c:pt idx="5">
                  <c:v>99.796000000000006</c:v>
                </c:pt>
                <c:pt idx="6">
                  <c:v>102.3854</c:v>
                </c:pt>
                <c:pt idx="7">
                  <c:v>102.25449999999999</c:v>
                </c:pt>
                <c:pt idx="8">
                  <c:v>101.21120000000001</c:v>
                </c:pt>
                <c:pt idx="9">
                  <c:v>100.5981</c:v>
                </c:pt>
                <c:pt idx="10">
                  <c:v>102.676</c:v>
                </c:pt>
                <c:pt idx="11">
                  <c:v>102.9332</c:v>
                </c:pt>
                <c:pt idx="12">
                  <c:v>105.0385</c:v>
                </c:pt>
                <c:pt idx="13">
                  <c:v>108.10380000000001</c:v>
                </c:pt>
                <c:pt idx="14">
                  <c:v>110.8994</c:v>
                </c:pt>
                <c:pt idx="15">
                  <c:v>111.6258</c:v>
                </c:pt>
                <c:pt idx="16">
                  <c:v>113.6014</c:v>
                </c:pt>
                <c:pt idx="17">
                  <c:v>115.7713</c:v>
                </c:pt>
                <c:pt idx="18">
                  <c:v>116.4641</c:v>
                </c:pt>
                <c:pt idx="19">
                  <c:v>117.8899</c:v>
                </c:pt>
                <c:pt idx="20">
                  <c:v>116.3999</c:v>
                </c:pt>
                <c:pt idx="21">
                  <c:v>113.85939999999999</c:v>
                </c:pt>
                <c:pt idx="22">
                  <c:v>112.911</c:v>
                </c:pt>
                <c:pt idx="23">
                  <c:v>113.54130000000001</c:v>
                </c:pt>
                <c:pt idx="24">
                  <c:v>111.9624</c:v>
                </c:pt>
                <c:pt idx="25">
                  <c:v>111.3937</c:v>
                </c:pt>
                <c:pt idx="26">
                  <c:v>111.7175</c:v>
                </c:pt>
                <c:pt idx="27">
                  <c:v>111.50109999999999</c:v>
                </c:pt>
                <c:pt idx="28">
                  <c:v>110.9393</c:v>
                </c:pt>
                <c:pt idx="29">
                  <c:v>114.0235</c:v>
                </c:pt>
                <c:pt idx="30">
                  <c:v>113.90430000000001</c:v>
                </c:pt>
                <c:pt idx="31">
                  <c:v>114.0325</c:v>
                </c:pt>
                <c:pt idx="32">
                  <c:v>114.6447</c:v>
                </c:pt>
                <c:pt idx="33">
                  <c:v>114.1905</c:v>
                </c:pt>
                <c:pt idx="34">
                  <c:v>114.06489999999999</c:v>
                </c:pt>
                <c:pt idx="35">
                  <c:v>114.7101</c:v>
                </c:pt>
                <c:pt idx="36">
                  <c:v>115.50069999999999</c:v>
                </c:pt>
                <c:pt idx="37">
                  <c:v>115.8995</c:v>
                </c:pt>
                <c:pt idx="38">
                  <c:v>115.8434</c:v>
                </c:pt>
                <c:pt idx="39">
                  <c:v>115.5407</c:v>
                </c:pt>
                <c:pt idx="40">
                  <c:v>115.65779999999999</c:v>
                </c:pt>
                <c:pt idx="41">
                  <c:v>115.5341</c:v>
                </c:pt>
                <c:pt idx="42">
                  <c:v>116.22490000000001</c:v>
                </c:pt>
                <c:pt idx="43">
                  <c:v>117.3078</c:v>
                </c:pt>
                <c:pt idx="44">
                  <c:v>118.61799999999999</c:v>
                </c:pt>
                <c:pt idx="45">
                  <c:v>119.3497</c:v>
                </c:pt>
                <c:pt idx="46">
                  <c:v>119.9829</c:v>
                </c:pt>
                <c:pt idx="47">
                  <c:v>121.5283</c:v>
                </c:pt>
                <c:pt idx="48">
                  <c:v>122.6152</c:v>
                </c:pt>
                <c:pt idx="49">
                  <c:v>121.57550000000001</c:v>
                </c:pt>
                <c:pt idx="50">
                  <c:v>120.46980000000001</c:v>
                </c:pt>
                <c:pt idx="51">
                  <c:v>120.1713</c:v>
                </c:pt>
                <c:pt idx="52">
                  <c:v>120.59480000000001</c:v>
                </c:pt>
                <c:pt idx="53">
                  <c:v>120.5552</c:v>
                </c:pt>
                <c:pt idx="54">
                  <c:v>120.21339999999999</c:v>
                </c:pt>
                <c:pt idx="55">
                  <c:v>120.2218</c:v>
                </c:pt>
                <c:pt idx="56">
                  <c:v>120.187</c:v>
                </c:pt>
                <c:pt idx="57">
                  <c:v>120.07989999999999</c:v>
                </c:pt>
                <c:pt idx="58">
                  <c:v>120.65049999999999</c:v>
                </c:pt>
                <c:pt idx="59">
                  <c:v>121.7517</c:v>
                </c:pt>
                <c:pt idx="60">
                  <c:v>122.54519999999999</c:v>
                </c:pt>
                <c:pt idx="61">
                  <c:v>122.87649999999999</c:v>
                </c:pt>
                <c:pt idx="62">
                  <c:v>123.13209999999999</c:v>
                </c:pt>
                <c:pt idx="63">
                  <c:v>122.80800000000001</c:v>
                </c:pt>
                <c:pt idx="64">
                  <c:v>122.8245</c:v>
                </c:pt>
                <c:pt idx="65">
                  <c:v>123.4</c:v>
                </c:pt>
                <c:pt idx="66">
                  <c:v>123.3489</c:v>
                </c:pt>
                <c:pt idx="67">
                  <c:v>123.3053</c:v>
                </c:pt>
                <c:pt idx="68">
                  <c:v>123.2312</c:v>
                </c:pt>
                <c:pt idx="69">
                  <c:v>123.1782</c:v>
                </c:pt>
                <c:pt idx="70">
                  <c:v>123.1874</c:v>
                </c:pt>
                <c:pt idx="71">
                  <c:v>123.4187</c:v>
                </c:pt>
                <c:pt idx="72">
                  <c:v>123.8002</c:v>
                </c:pt>
                <c:pt idx="73">
                  <c:v>123.9417</c:v>
                </c:pt>
                <c:pt idx="74">
                  <c:v>123.8934</c:v>
                </c:pt>
                <c:pt idx="75">
                  <c:v>123.6581</c:v>
                </c:pt>
                <c:pt idx="76">
                  <c:v>123.0471</c:v>
                </c:pt>
                <c:pt idx="77">
                  <c:v>122.0189</c:v>
                </c:pt>
                <c:pt idx="78">
                  <c:v>120.4183</c:v>
                </c:pt>
                <c:pt idx="79">
                  <c:v>119.574</c:v>
                </c:pt>
                <c:pt idx="80">
                  <c:v>119.2957</c:v>
                </c:pt>
                <c:pt idx="81">
                  <c:v>119.2818</c:v>
                </c:pt>
                <c:pt idx="82" formatCode="0.0">
                  <c:v>118.89879999999999</c:v>
                </c:pt>
                <c:pt idx="83" formatCode="0.0">
                  <c:v>119.13939999999999</c:v>
                </c:pt>
                <c:pt idx="84" formatCode="0.0">
                  <c:v>118.6177</c:v>
                </c:pt>
                <c:pt idx="85" formatCode="0.0">
                  <c:v>118.39149999999999</c:v>
                </c:pt>
                <c:pt idx="86" formatCode="0.0">
                  <c:v>118.2688</c:v>
                </c:pt>
                <c:pt idx="87" formatCode="0.0">
                  <c:v>118.19159999999999</c:v>
                </c:pt>
                <c:pt idx="88" formatCode="0.0">
                  <c:v>118.1889</c:v>
                </c:pt>
                <c:pt idx="89" formatCode="0.0">
                  <c:v>118.1348</c:v>
                </c:pt>
                <c:pt idx="90" formatCode="0.0">
                  <c:v>118.04730000000001</c:v>
                </c:pt>
                <c:pt idx="91" formatCode="0.0">
                  <c:v>118.1041</c:v>
                </c:pt>
                <c:pt idx="92" formatCode="0.0">
                  <c:v>118.2786</c:v>
                </c:pt>
                <c:pt idx="93" formatCode="0.0">
                  <c:v>118.4367</c:v>
                </c:pt>
                <c:pt idx="94" formatCode="0.0">
                  <c:v>118.3429</c:v>
                </c:pt>
                <c:pt idx="95" formatCode="0.0">
                  <c:v>118.27719999999999</c:v>
                </c:pt>
                <c:pt idx="96" formatCode="0.0">
                  <c:v>118.40779999999999</c:v>
                </c:pt>
                <c:pt idx="97" formatCode="0.0">
                  <c:v>118.24209999999999</c:v>
                </c:pt>
                <c:pt idx="98" formatCode="0.0">
                  <c:v>118.0416</c:v>
                </c:pt>
                <c:pt idx="99" formatCode="0.0">
                  <c:v>117.99379999999999</c:v>
                </c:pt>
                <c:pt idx="100" formatCode="0.0">
                  <c:v>117.96469999999999</c:v>
                </c:pt>
                <c:pt idx="101" formatCode="0.0">
                  <c:v>117.93770000000001</c:v>
                </c:pt>
                <c:pt idx="102" formatCode="0.0">
                  <c:v>117.78449999999999</c:v>
                </c:pt>
                <c:pt idx="103" formatCode="0.0">
                  <c:v>117.777</c:v>
                </c:pt>
                <c:pt idx="104" formatCode="0.0">
                  <c:v>117.5958</c:v>
                </c:pt>
                <c:pt idx="105" formatCode="0.0">
                  <c:v>117.5453</c:v>
                </c:pt>
                <c:pt idx="106" formatCode="0.0">
                  <c:v>117.5132</c:v>
                </c:pt>
                <c:pt idx="107" formatCode="0.0">
                  <c:v>117.53830000000001</c:v>
                </c:pt>
                <c:pt idx="108" formatCode="0.0">
                  <c:v>117.5643</c:v>
                </c:pt>
                <c:pt idx="109" formatCode="0.0">
                  <c:v>117.57170000000001</c:v>
                </c:pt>
                <c:pt idx="110" formatCode="0.0">
                  <c:v>117.5625</c:v>
                </c:pt>
                <c:pt idx="111" formatCode="0.0">
                  <c:v>117.5694</c:v>
                </c:pt>
                <c:pt idx="112" formatCode="0.0">
                  <c:v>117.5913</c:v>
                </c:pt>
                <c:pt idx="113" formatCode="0.0">
                  <c:v>117.5852</c:v>
                </c:pt>
                <c:pt idx="114" formatCode="0.0">
                  <c:v>117.58580000000001</c:v>
                </c:pt>
                <c:pt idx="115" formatCode="0.0">
                  <c:v>117.5865</c:v>
                </c:pt>
                <c:pt idx="116" formatCode="0.0">
                  <c:v>117.583</c:v>
                </c:pt>
                <c:pt idx="117" formatCode="0.0">
                  <c:v>117.58</c:v>
                </c:pt>
                <c:pt idx="118" formatCode="0.0">
                  <c:v>117.57380000000001</c:v>
                </c:pt>
                <c:pt idx="119" formatCode="0.0">
                  <c:v>117.57769999999999</c:v>
                </c:pt>
                <c:pt idx="120" formatCode="0.0">
                  <c:v>117.58199999999999</c:v>
                </c:pt>
                <c:pt idx="121" formatCode="0.0">
                  <c:v>117.57640000000001</c:v>
                </c:pt>
                <c:pt idx="122" formatCode="0.0">
                  <c:v>117.5766</c:v>
                </c:pt>
                <c:pt idx="123" formatCode="0.0">
                  <c:v>117.5728</c:v>
                </c:pt>
                <c:pt idx="124" formatCode="0.0">
                  <c:v>117.5789</c:v>
                </c:pt>
                <c:pt idx="125" formatCode="0.0">
                  <c:v>117.5703</c:v>
                </c:pt>
                <c:pt idx="126" formatCode="0.0">
                  <c:v>117.5629</c:v>
                </c:pt>
                <c:pt idx="127" formatCode="0.0">
                  <c:v>117.5675</c:v>
                </c:pt>
                <c:pt idx="128" formatCode="0.0">
                  <c:v>117.5668</c:v>
                </c:pt>
                <c:pt idx="129" formatCode="0.0">
                  <c:v>117.56740000000001</c:v>
                </c:pt>
                <c:pt idx="130" formatCode="0.0">
                  <c:v>117.5806</c:v>
                </c:pt>
                <c:pt idx="131" formatCode="0.0">
                  <c:v>117.5801</c:v>
                </c:pt>
                <c:pt idx="132" formatCode="0.0">
                  <c:v>117.5843</c:v>
                </c:pt>
                <c:pt idx="133" formatCode="0.0">
                  <c:v>117.5907</c:v>
                </c:pt>
                <c:pt idx="134" formatCode="0.0">
                  <c:v>117.67659999999999</c:v>
                </c:pt>
                <c:pt idx="135" formatCode="0.0">
                  <c:v>117.72750000000001</c:v>
                </c:pt>
                <c:pt idx="136" formatCode="0.0">
                  <c:v>117.55719999999999</c:v>
                </c:pt>
                <c:pt idx="137" formatCode="0.0">
                  <c:v>117.4297</c:v>
                </c:pt>
                <c:pt idx="138" formatCode="0.0">
                  <c:v>117.3938</c:v>
                </c:pt>
                <c:pt idx="139" formatCode="0.0">
                  <c:v>117.355</c:v>
                </c:pt>
                <c:pt idx="140" formatCode="0.0">
                  <c:v>117.3246</c:v>
                </c:pt>
                <c:pt idx="141" formatCode="0.0">
                  <c:v>117.3129</c:v>
                </c:pt>
                <c:pt idx="142" formatCode="0.0">
                  <c:v>117.3086</c:v>
                </c:pt>
                <c:pt idx="143" formatCode="0.0">
                  <c:v>117.30970000000001</c:v>
                </c:pt>
                <c:pt idx="144" formatCode="0.0">
                  <c:v>117.3635</c:v>
                </c:pt>
                <c:pt idx="145" formatCode="0.0">
                  <c:v>117.3266</c:v>
                </c:pt>
                <c:pt idx="146" formatCode="0.0">
                  <c:v>117.31440000000001</c:v>
                </c:pt>
                <c:pt idx="147" formatCode="0.0">
                  <c:v>117.2824</c:v>
                </c:pt>
                <c:pt idx="148" formatCode="0.0">
                  <c:v>117.2831</c:v>
                </c:pt>
                <c:pt idx="149" formatCode="0.0">
                  <c:v>117.2731</c:v>
                </c:pt>
                <c:pt idx="150" formatCode="0.0">
                  <c:v>117.2269</c:v>
                </c:pt>
                <c:pt idx="151" formatCode="0.0">
                  <c:v>117.2139</c:v>
                </c:pt>
                <c:pt idx="152" formatCode="0.0">
                  <c:v>117.2015</c:v>
                </c:pt>
                <c:pt idx="153" formatCode="0.0">
                  <c:v>117.18519999999999</c:v>
                </c:pt>
                <c:pt idx="154" formatCode="0.0">
                  <c:v>117.1934</c:v>
                </c:pt>
                <c:pt idx="155" formatCode="0.0">
                  <c:v>117.17400000000001</c:v>
                </c:pt>
                <c:pt idx="156" formatCode="0.0">
                  <c:v>117.2102</c:v>
                </c:pt>
                <c:pt idx="157" formatCode="0.0">
                  <c:v>117.1795</c:v>
                </c:pt>
                <c:pt idx="158" formatCode="0.0">
                  <c:v>117.19119999999999</c:v>
                </c:pt>
                <c:pt idx="159" formatCode="0.0">
                  <c:v>117.1384</c:v>
                </c:pt>
                <c:pt idx="160" formatCode="0.0">
                  <c:v>117.1161</c:v>
                </c:pt>
                <c:pt idx="161" formatCode="0.0">
                  <c:v>117.1015</c:v>
                </c:pt>
                <c:pt idx="162" formatCode="0.0">
                  <c:v>117.04900000000001</c:v>
                </c:pt>
                <c:pt idx="163" formatCode="0.0">
                  <c:v>117.0553</c:v>
                </c:pt>
                <c:pt idx="164" formatCode="0.0">
                  <c:v>117.084</c:v>
                </c:pt>
                <c:pt idx="165" formatCode="0.0">
                  <c:v>117.0266</c:v>
                </c:pt>
                <c:pt idx="166" formatCode="0.0">
                  <c:v>116.9936</c:v>
                </c:pt>
                <c:pt idx="167" formatCode="0.0">
                  <c:v>116.973</c:v>
                </c:pt>
                <c:pt idx="168" formatCode="0.0">
                  <c:v>117.1216</c:v>
                </c:pt>
                <c:pt idx="169" formatCode="0.0">
                  <c:v>117.1386</c:v>
                </c:pt>
                <c:pt idx="170" formatCode="0.0">
                  <c:v>117.1713</c:v>
                </c:pt>
                <c:pt idx="171" formatCode="0.0">
                  <c:v>117.2029</c:v>
                </c:pt>
                <c:pt idx="172" formatCode="0.0">
                  <c:v>117.22750000000001</c:v>
                </c:pt>
                <c:pt idx="173" formatCode="0.0">
                  <c:v>117.20740000000001</c:v>
                </c:pt>
                <c:pt idx="174" formatCode="0.0">
                  <c:v>117.1756</c:v>
                </c:pt>
                <c:pt idx="175" formatCode="0.0">
                  <c:v>117.1725</c:v>
                </c:pt>
                <c:pt idx="176" formatCode="0.0">
                  <c:v>117.1773</c:v>
                </c:pt>
                <c:pt idx="177" formatCode="0.0">
                  <c:v>117.1952</c:v>
                </c:pt>
                <c:pt idx="178" formatCode="0.0">
                  <c:v>117.24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1-411D-9431-FEDD78BDF6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13631936"/>
        <c:axId val="-1213630848"/>
      </c:lineChart>
      <c:catAx>
        <c:axId val="-1213633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700">
                <a:latin typeface="Arial Narrow" panose="020B0606020202030204" pitchFamily="34" charset="0"/>
              </a:defRPr>
            </a:pPr>
            <a:endParaRPr lang="en-US"/>
          </a:p>
        </c:txPr>
        <c:crossAx val="-1213632480"/>
        <c:crosses val="autoZero"/>
        <c:auto val="1"/>
        <c:lblAlgn val="ctr"/>
        <c:lblOffset val="100"/>
        <c:tickLblSkip val="6"/>
        <c:tickMarkSkip val="6"/>
        <c:noMultiLvlLbl val="0"/>
      </c:catAx>
      <c:valAx>
        <c:axId val="-1213632480"/>
        <c:scaling>
          <c:orientation val="minMax"/>
          <c:min val="90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/>
            </a:pPr>
            <a:endParaRPr lang="en-US"/>
          </a:p>
        </c:txPr>
        <c:crossAx val="-1213633568"/>
        <c:crosses val="autoZero"/>
        <c:crossBetween val="midCat"/>
        <c:majorUnit val="10"/>
      </c:valAx>
      <c:catAx>
        <c:axId val="-12136319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213630848"/>
        <c:crosses val="autoZero"/>
        <c:auto val="1"/>
        <c:lblAlgn val="ctr"/>
        <c:lblOffset val="100"/>
        <c:noMultiLvlLbl val="0"/>
      </c:catAx>
      <c:valAx>
        <c:axId val="-1213630848"/>
        <c:scaling>
          <c:orientation val="minMax"/>
          <c:max val="125"/>
          <c:min val="80"/>
        </c:scaling>
        <c:delete val="0"/>
        <c:axPos val="r"/>
        <c:numFmt formatCode="0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/>
            </a:pPr>
            <a:endParaRPr lang="en-US"/>
          </a:p>
        </c:txPr>
        <c:crossAx val="-1213631936"/>
        <c:crosses val="max"/>
        <c:crossBetween val="midCat"/>
        <c:majorUnit val="5"/>
      </c:valAx>
      <c:spPr>
        <a:noFill/>
        <a:ln w="25400">
          <a:noFill/>
        </a:ln>
      </c:spPr>
    </c:plotArea>
    <c:legend>
      <c:legendPos val="b"/>
      <c:legendEntry>
        <c:idx val="0"/>
        <c:txPr>
          <a:bodyPr/>
          <a:lstStyle/>
          <a:p>
            <a:pPr>
              <a:defRPr sz="700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700"/>
            </a:pPr>
            <a:endParaRPr lang="en-US"/>
          </a:p>
        </c:txPr>
      </c:legendEntry>
      <c:layout>
        <c:manualLayout>
          <c:xMode val="edge"/>
          <c:yMode val="edge"/>
          <c:x val="1.1261324189315046E-2"/>
          <c:y val="0.92736077481840196"/>
          <c:w val="0.97747756328846003"/>
          <c:h val="5.8111380145278502E-2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chemeClr val="bg1"/>
    </a:solidFill>
    <a:ln w="6350">
      <a:solidFill>
        <a:schemeClr val="dk1"/>
      </a:solidFill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 Narrow" panose="020B0606020202030204" pitchFamily="34" charset="0"/>
          <a:ea typeface="Myriad Pro SemiCond"/>
          <a:cs typeface="Myriad Pro SemiCond"/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589395584509598E-2"/>
          <c:y val="5.9154810298102982E-2"/>
          <c:w val="0.91480998914223655"/>
          <c:h val="0.691005250677506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heet 1'!$X$16</c:f>
              <c:strCache>
                <c:ptCount val="1"/>
                <c:pt idx="0">
                  <c:v>Rashodi i kamate % BD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F7-44AF-9BE6-6202F49DFB85}"/>
              </c:ext>
            </c:extLst>
          </c:dPt>
          <c:cat>
            <c:strRef>
              <c:f>'Sheet 1'!$W$17:$W$47</c:f>
              <c:strCache>
                <c:ptCount val="31"/>
                <c:pt idx="0">
                  <c:v>Hungary</c:v>
                </c:pt>
                <c:pt idx="1">
                  <c:v>Iceland</c:v>
                </c:pt>
                <c:pt idx="2">
                  <c:v>Italy</c:v>
                </c:pt>
                <c:pt idx="3">
                  <c:v>Greece</c:v>
                </c:pt>
                <c:pt idx="4">
                  <c:v>Spain</c:v>
                </c:pt>
                <c:pt idx="5">
                  <c:v>Romania</c:v>
                </c:pt>
                <c:pt idx="6">
                  <c:v>Belgium</c:v>
                </c:pt>
                <c:pt idx="7">
                  <c:v>Poland</c:v>
                </c:pt>
                <c:pt idx="8">
                  <c:v>France</c:v>
                </c:pt>
                <c:pt idx="9">
                  <c:v>Portugal</c:v>
                </c:pt>
                <c:pt idx="10">
                  <c:v>Serbia </c:v>
                </c:pt>
                <c:pt idx="11">
                  <c:v>Croatia</c:v>
                </c:pt>
                <c:pt idx="12">
                  <c:v>Finland</c:v>
                </c:pt>
                <c:pt idx="13">
                  <c:v>Austria</c:v>
                </c:pt>
                <c:pt idx="14">
                  <c:v>Norway</c:v>
                </c:pt>
                <c:pt idx="15">
                  <c:v>Slovakia</c:v>
                </c:pt>
                <c:pt idx="16">
                  <c:v>Czechia</c:v>
                </c:pt>
                <c:pt idx="17">
                  <c:v>Slovenia</c:v>
                </c:pt>
                <c:pt idx="18">
                  <c:v>Cyprus</c:v>
                </c:pt>
                <c:pt idx="19">
                  <c:v>Malta</c:v>
                </c:pt>
                <c:pt idx="20">
                  <c:v>Germany</c:v>
                </c:pt>
                <c:pt idx="21">
                  <c:v>Latvia</c:v>
                </c:pt>
                <c:pt idx="22">
                  <c:v>Denmark</c:v>
                </c:pt>
                <c:pt idx="23">
                  <c:v>Lithuania</c:v>
                </c:pt>
                <c:pt idx="24">
                  <c:v>Netherlands</c:v>
                </c:pt>
                <c:pt idx="25">
                  <c:v>Sweden</c:v>
                </c:pt>
                <c:pt idx="26">
                  <c:v>Estonia</c:v>
                </c:pt>
                <c:pt idx="27">
                  <c:v>Ireland</c:v>
                </c:pt>
                <c:pt idx="28">
                  <c:v>Bulgaria</c:v>
                </c:pt>
                <c:pt idx="29">
                  <c:v>Luxembourg</c:v>
                </c:pt>
                <c:pt idx="30">
                  <c:v>Switzerland</c:v>
                </c:pt>
              </c:strCache>
            </c:strRef>
          </c:cat>
          <c:val>
            <c:numRef>
              <c:f>'Sheet 1'!$X$17:$X$47</c:f>
              <c:numCache>
                <c:formatCode>#,##0.##########</c:formatCode>
                <c:ptCount val="31"/>
                <c:pt idx="0">
                  <c:v>4.9000000000000004</c:v>
                </c:pt>
                <c:pt idx="1">
                  <c:v>4.5999999999999996</c:v>
                </c:pt>
                <c:pt idx="2">
                  <c:v>3.9</c:v>
                </c:pt>
                <c:pt idx="3">
                  <c:v>3.5</c:v>
                </c:pt>
                <c:pt idx="4">
                  <c:v>2.4</c:v>
                </c:pt>
                <c:pt idx="5">
                  <c:v>2.4</c:v>
                </c:pt>
                <c:pt idx="6">
                  <c:v>2.2000000000000002</c:v>
                </c:pt>
                <c:pt idx="7">
                  <c:v>2.2000000000000002</c:v>
                </c:pt>
                <c:pt idx="8">
                  <c:v>2.1</c:v>
                </c:pt>
                <c:pt idx="9">
                  <c:v>2.1</c:v>
                </c:pt>
                <c:pt idx="10">
                  <c:v>1.9</c:v>
                </c:pt>
                <c:pt idx="11">
                  <c:v>1.6</c:v>
                </c:pt>
                <c:pt idx="12">
                  <c:v>1.6</c:v>
                </c:pt>
                <c:pt idx="13">
                  <c:v>1.5</c:v>
                </c:pt>
                <c:pt idx="14">
                  <c:v>1.5</c:v>
                </c:pt>
                <c:pt idx="15">
                  <c:v>1.4</c:v>
                </c:pt>
                <c:pt idx="16">
                  <c:v>1.3</c:v>
                </c:pt>
                <c:pt idx="17">
                  <c:v>1.3</c:v>
                </c:pt>
                <c:pt idx="18">
                  <c:v>1.2</c:v>
                </c:pt>
                <c:pt idx="19">
                  <c:v>1.2</c:v>
                </c:pt>
                <c:pt idx="20">
                  <c:v>1.1000000000000001</c:v>
                </c:pt>
                <c:pt idx="21">
                  <c:v>1.1000000000000001</c:v>
                </c:pt>
                <c:pt idx="22">
                  <c:v>0.8</c:v>
                </c:pt>
                <c:pt idx="23">
                  <c:v>0.8</c:v>
                </c:pt>
                <c:pt idx="24">
                  <c:v>0.7</c:v>
                </c:pt>
                <c:pt idx="25">
                  <c:v>0.7</c:v>
                </c:pt>
                <c:pt idx="26">
                  <c:v>0.6</c:v>
                </c:pt>
                <c:pt idx="27">
                  <c:v>0.6</c:v>
                </c:pt>
                <c:pt idx="28">
                  <c:v>0.5</c:v>
                </c:pt>
                <c:pt idx="29">
                  <c:v>0.3</c:v>
                </c:pt>
                <c:pt idx="3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F7-44AF-9BE6-6202F49DF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-1206199552"/>
        <c:axId val="-1206187584"/>
      </c:barChart>
      <c:catAx>
        <c:axId val="-1206199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206187584"/>
        <c:crosses val="autoZero"/>
        <c:auto val="1"/>
        <c:lblAlgn val="ctr"/>
        <c:lblOffset val="100"/>
        <c:noMultiLvlLbl val="0"/>
      </c:catAx>
      <c:valAx>
        <c:axId val="-1206187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06199552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T5-8'!$D$1</c:f>
              <c:strCache>
                <c:ptCount val="1"/>
                <c:pt idx="0">
                  <c:v>inflation (yoy)</c:v>
                </c:pt>
              </c:strCache>
            </c:strRef>
          </c:tx>
          <c:spPr>
            <a:ln w="38100" cmpd="sng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T5-8'!$B$160:$B$949</c:f>
              <c:numCache>
                <c:formatCode>[$-409]d\-mmm\-yyyy;@</c:formatCode>
                <c:ptCount val="790"/>
                <c:pt idx="0">
                  <c:v>40554</c:v>
                </c:pt>
                <c:pt idx="1">
                  <c:v>40561</c:v>
                </c:pt>
                <c:pt idx="2">
                  <c:v>40568</c:v>
                </c:pt>
                <c:pt idx="3">
                  <c:v>40575</c:v>
                </c:pt>
                <c:pt idx="4">
                  <c:v>40582</c:v>
                </c:pt>
                <c:pt idx="5">
                  <c:v>40589</c:v>
                </c:pt>
                <c:pt idx="6">
                  <c:v>40596</c:v>
                </c:pt>
                <c:pt idx="7">
                  <c:v>40603</c:v>
                </c:pt>
                <c:pt idx="8">
                  <c:v>40610</c:v>
                </c:pt>
                <c:pt idx="9">
                  <c:v>40617</c:v>
                </c:pt>
                <c:pt idx="10">
                  <c:v>40624</c:v>
                </c:pt>
                <c:pt idx="11">
                  <c:v>40631</c:v>
                </c:pt>
                <c:pt idx="12">
                  <c:v>40638</c:v>
                </c:pt>
                <c:pt idx="13">
                  <c:v>40645</c:v>
                </c:pt>
                <c:pt idx="14">
                  <c:v>40652</c:v>
                </c:pt>
                <c:pt idx="15">
                  <c:v>40659</c:v>
                </c:pt>
                <c:pt idx="16">
                  <c:v>40666</c:v>
                </c:pt>
                <c:pt idx="17">
                  <c:v>40673</c:v>
                </c:pt>
                <c:pt idx="18">
                  <c:v>40680</c:v>
                </c:pt>
                <c:pt idx="19">
                  <c:v>40687</c:v>
                </c:pt>
                <c:pt idx="20">
                  <c:v>40694</c:v>
                </c:pt>
                <c:pt idx="21">
                  <c:v>40701</c:v>
                </c:pt>
                <c:pt idx="22">
                  <c:v>40708</c:v>
                </c:pt>
                <c:pt idx="23">
                  <c:v>40715</c:v>
                </c:pt>
                <c:pt idx="24">
                  <c:v>40722</c:v>
                </c:pt>
                <c:pt idx="25">
                  <c:v>40729</c:v>
                </c:pt>
                <c:pt idx="26">
                  <c:v>40736</c:v>
                </c:pt>
                <c:pt idx="27">
                  <c:v>40743</c:v>
                </c:pt>
                <c:pt idx="28">
                  <c:v>40750</c:v>
                </c:pt>
                <c:pt idx="29">
                  <c:v>40757</c:v>
                </c:pt>
                <c:pt idx="30">
                  <c:v>40764</c:v>
                </c:pt>
                <c:pt idx="31">
                  <c:v>40771</c:v>
                </c:pt>
                <c:pt idx="32">
                  <c:v>40778</c:v>
                </c:pt>
                <c:pt idx="33">
                  <c:v>40785</c:v>
                </c:pt>
                <c:pt idx="34">
                  <c:v>40792</c:v>
                </c:pt>
                <c:pt idx="35">
                  <c:v>40799</c:v>
                </c:pt>
                <c:pt idx="36">
                  <c:v>40806</c:v>
                </c:pt>
                <c:pt idx="37">
                  <c:v>40813</c:v>
                </c:pt>
                <c:pt idx="38">
                  <c:v>40820</c:v>
                </c:pt>
                <c:pt idx="39">
                  <c:v>40827</c:v>
                </c:pt>
                <c:pt idx="40">
                  <c:v>40834</c:v>
                </c:pt>
                <c:pt idx="41">
                  <c:v>40841</c:v>
                </c:pt>
                <c:pt idx="42">
                  <c:v>40848</c:v>
                </c:pt>
                <c:pt idx="43">
                  <c:v>40855</c:v>
                </c:pt>
                <c:pt idx="44">
                  <c:v>40862</c:v>
                </c:pt>
                <c:pt idx="45">
                  <c:v>40869</c:v>
                </c:pt>
                <c:pt idx="46">
                  <c:v>40876</c:v>
                </c:pt>
                <c:pt idx="47">
                  <c:v>40883</c:v>
                </c:pt>
                <c:pt idx="48">
                  <c:v>40890</c:v>
                </c:pt>
                <c:pt idx="49">
                  <c:v>40897</c:v>
                </c:pt>
                <c:pt idx="50">
                  <c:v>40904</c:v>
                </c:pt>
                <c:pt idx="51">
                  <c:v>40911</c:v>
                </c:pt>
                <c:pt idx="52">
                  <c:v>40918</c:v>
                </c:pt>
                <c:pt idx="53">
                  <c:v>40925</c:v>
                </c:pt>
                <c:pt idx="54">
                  <c:v>40932</c:v>
                </c:pt>
                <c:pt idx="55">
                  <c:v>40939</c:v>
                </c:pt>
                <c:pt idx="56">
                  <c:v>40946</c:v>
                </c:pt>
                <c:pt idx="57">
                  <c:v>40953</c:v>
                </c:pt>
                <c:pt idx="58">
                  <c:v>40960</c:v>
                </c:pt>
                <c:pt idx="59">
                  <c:v>40967</c:v>
                </c:pt>
                <c:pt idx="60">
                  <c:v>40974</c:v>
                </c:pt>
                <c:pt idx="61">
                  <c:v>40981</c:v>
                </c:pt>
                <c:pt idx="62">
                  <c:v>40988</c:v>
                </c:pt>
                <c:pt idx="63">
                  <c:v>40995</c:v>
                </c:pt>
                <c:pt idx="64">
                  <c:v>41002</c:v>
                </c:pt>
                <c:pt idx="65">
                  <c:v>41009</c:v>
                </c:pt>
                <c:pt idx="66">
                  <c:v>41016</c:v>
                </c:pt>
                <c:pt idx="67">
                  <c:v>41023</c:v>
                </c:pt>
                <c:pt idx="68">
                  <c:v>41030</c:v>
                </c:pt>
                <c:pt idx="69">
                  <c:v>41037</c:v>
                </c:pt>
                <c:pt idx="70">
                  <c:v>41044</c:v>
                </c:pt>
                <c:pt idx="71">
                  <c:v>41051</c:v>
                </c:pt>
                <c:pt idx="72">
                  <c:v>41058</c:v>
                </c:pt>
                <c:pt idx="73">
                  <c:v>41065</c:v>
                </c:pt>
                <c:pt idx="74">
                  <c:v>41072</c:v>
                </c:pt>
                <c:pt idx="75">
                  <c:v>41079</c:v>
                </c:pt>
                <c:pt idx="76">
                  <c:v>41086</c:v>
                </c:pt>
                <c:pt idx="77">
                  <c:v>41093</c:v>
                </c:pt>
                <c:pt idx="78">
                  <c:v>41100</c:v>
                </c:pt>
                <c:pt idx="79">
                  <c:v>41107</c:v>
                </c:pt>
                <c:pt idx="80">
                  <c:v>41114</c:v>
                </c:pt>
                <c:pt idx="81">
                  <c:v>41121</c:v>
                </c:pt>
                <c:pt idx="82">
                  <c:v>41128</c:v>
                </c:pt>
                <c:pt idx="83">
                  <c:v>41135</c:v>
                </c:pt>
                <c:pt idx="84">
                  <c:v>41142</c:v>
                </c:pt>
                <c:pt idx="85">
                  <c:v>41149</c:v>
                </c:pt>
                <c:pt idx="86">
                  <c:v>41156</c:v>
                </c:pt>
                <c:pt idx="87">
                  <c:v>41163</c:v>
                </c:pt>
                <c:pt idx="88">
                  <c:v>41170</c:v>
                </c:pt>
                <c:pt idx="89">
                  <c:v>41177</c:v>
                </c:pt>
                <c:pt idx="90">
                  <c:v>41184</c:v>
                </c:pt>
                <c:pt idx="91">
                  <c:v>41191</c:v>
                </c:pt>
                <c:pt idx="92">
                  <c:v>41198</c:v>
                </c:pt>
                <c:pt idx="93">
                  <c:v>41205</c:v>
                </c:pt>
                <c:pt idx="94">
                  <c:v>41212</c:v>
                </c:pt>
                <c:pt idx="95">
                  <c:v>41219</c:v>
                </c:pt>
                <c:pt idx="96">
                  <c:v>41226</c:v>
                </c:pt>
                <c:pt idx="97">
                  <c:v>41233</c:v>
                </c:pt>
                <c:pt idx="98">
                  <c:v>41240</c:v>
                </c:pt>
                <c:pt idx="99">
                  <c:v>41247</c:v>
                </c:pt>
                <c:pt idx="100">
                  <c:v>41254</c:v>
                </c:pt>
                <c:pt idx="101">
                  <c:v>41261</c:v>
                </c:pt>
                <c:pt idx="102">
                  <c:v>41268</c:v>
                </c:pt>
                <c:pt idx="103">
                  <c:v>41275</c:v>
                </c:pt>
                <c:pt idx="104">
                  <c:v>41282</c:v>
                </c:pt>
                <c:pt idx="105">
                  <c:v>41289</c:v>
                </c:pt>
                <c:pt idx="106">
                  <c:v>41296</c:v>
                </c:pt>
                <c:pt idx="107">
                  <c:v>41303</c:v>
                </c:pt>
                <c:pt idx="108">
                  <c:v>41310</c:v>
                </c:pt>
                <c:pt idx="109">
                  <c:v>41317</c:v>
                </c:pt>
                <c:pt idx="110">
                  <c:v>41324</c:v>
                </c:pt>
                <c:pt idx="111">
                  <c:v>41331</c:v>
                </c:pt>
                <c:pt idx="112">
                  <c:v>41338</c:v>
                </c:pt>
                <c:pt idx="113">
                  <c:v>41345</c:v>
                </c:pt>
                <c:pt idx="114">
                  <c:v>41352</c:v>
                </c:pt>
                <c:pt idx="115">
                  <c:v>41359</c:v>
                </c:pt>
                <c:pt idx="116">
                  <c:v>41366</c:v>
                </c:pt>
                <c:pt idx="117">
                  <c:v>41373</c:v>
                </c:pt>
                <c:pt idx="118">
                  <c:v>41380</c:v>
                </c:pt>
                <c:pt idx="119">
                  <c:v>41387</c:v>
                </c:pt>
                <c:pt idx="120">
                  <c:v>41394</c:v>
                </c:pt>
                <c:pt idx="121">
                  <c:v>41401</c:v>
                </c:pt>
                <c:pt idx="122">
                  <c:v>41408</c:v>
                </c:pt>
                <c:pt idx="123">
                  <c:v>41415</c:v>
                </c:pt>
                <c:pt idx="124">
                  <c:v>41422</c:v>
                </c:pt>
                <c:pt idx="125">
                  <c:v>41429</c:v>
                </c:pt>
                <c:pt idx="126">
                  <c:v>41436</c:v>
                </c:pt>
                <c:pt idx="127">
                  <c:v>41443</c:v>
                </c:pt>
                <c:pt idx="128">
                  <c:v>41450</c:v>
                </c:pt>
                <c:pt idx="129">
                  <c:v>41457</c:v>
                </c:pt>
                <c:pt idx="130">
                  <c:v>41464</c:v>
                </c:pt>
                <c:pt idx="131">
                  <c:v>41471</c:v>
                </c:pt>
                <c:pt idx="132">
                  <c:v>41478</c:v>
                </c:pt>
                <c:pt idx="133">
                  <c:v>41485</c:v>
                </c:pt>
                <c:pt idx="134">
                  <c:v>41492</c:v>
                </c:pt>
                <c:pt idx="135">
                  <c:v>41499</c:v>
                </c:pt>
                <c:pt idx="136">
                  <c:v>41506</c:v>
                </c:pt>
                <c:pt idx="137">
                  <c:v>41513</c:v>
                </c:pt>
                <c:pt idx="138">
                  <c:v>41520</c:v>
                </c:pt>
                <c:pt idx="139">
                  <c:v>41527</c:v>
                </c:pt>
                <c:pt idx="140">
                  <c:v>41534</c:v>
                </c:pt>
                <c:pt idx="141">
                  <c:v>41541</c:v>
                </c:pt>
                <c:pt idx="142">
                  <c:v>41548</c:v>
                </c:pt>
                <c:pt idx="143">
                  <c:v>41555</c:v>
                </c:pt>
                <c:pt idx="144">
                  <c:v>41562</c:v>
                </c:pt>
                <c:pt idx="145">
                  <c:v>41569</c:v>
                </c:pt>
                <c:pt idx="146">
                  <c:v>41576</c:v>
                </c:pt>
                <c:pt idx="147">
                  <c:v>41583</c:v>
                </c:pt>
                <c:pt idx="148">
                  <c:v>41590</c:v>
                </c:pt>
                <c:pt idx="149">
                  <c:v>41597</c:v>
                </c:pt>
                <c:pt idx="150">
                  <c:v>41604</c:v>
                </c:pt>
                <c:pt idx="151">
                  <c:v>41611</c:v>
                </c:pt>
                <c:pt idx="152">
                  <c:v>41618</c:v>
                </c:pt>
                <c:pt idx="153">
                  <c:v>41625</c:v>
                </c:pt>
                <c:pt idx="154">
                  <c:v>41632</c:v>
                </c:pt>
                <c:pt idx="155">
                  <c:v>41639</c:v>
                </c:pt>
                <c:pt idx="156">
                  <c:v>41646</c:v>
                </c:pt>
                <c:pt idx="157">
                  <c:v>41653</c:v>
                </c:pt>
                <c:pt idx="158">
                  <c:v>41660</c:v>
                </c:pt>
                <c:pt idx="159">
                  <c:v>41667</c:v>
                </c:pt>
                <c:pt idx="160">
                  <c:v>41674</c:v>
                </c:pt>
                <c:pt idx="161">
                  <c:v>41681</c:v>
                </c:pt>
                <c:pt idx="162">
                  <c:v>41688</c:v>
                </c:pt>
                <c:pt idx="163">
                  <c:v>41695</c:v>
                </c:pt>
                <c:pt idx="164">
                  <c:v>41702</c:v>
                </c:pt>
                <c:pt idx="165">
                  <c:v>41709</c:v>
                </c:pt>
                <c:pt idx="166">
                  <c:v>41716</c:v>
                </c:pt>
                <c:pt idx="167">
                  <c:v>41723</c:v>
                </c:pt>
                <c:pt idx="168">
                  <c:v>41730</c:v>
                </c:pt>
                <c:pt idx="169">
                  <c:v>41737</c:v>
                </c:pt>
                <c:pt idx="170">
                  <c:v>41744</c:v>
                </c:pt>
                <c:pt idx="171">
                  <c:v>41751</c:v>
                </c:pt>
                <c:pt idx="172">
                  <c:v>41758</c:v>
                </c:pt>
                <c:pt idx="173">
                  <c:v>41765</c:v>
                </c:pt>
                <c:pt idx="174">
                  <c:v>41772</c:v>
                </c:pt>
                <c:pt idx="175">
                  <c:v>41779</c:v>
                </c:pt>
                <c:pt idx="176">
                  <c:v>41786</c:v>
                </c:pt>
                <c:pt idx="177">
                  <c:v>41793</c:v>
                </c:pt>
                <c:pt idx="178">
                  <c:v>41800</c:v>
                </c:pt>
                <c:pt idx="179">
                  <c:v>41807</c:v>
                </c:pt>
                <c:pt idx="180">
                  <c:v>41814</c:v>
                </c:pt>
                <c:pt idx="181">
                  <c:v>41821</c:v>
                </c:pt>
                <c:pt idx="182">
                  <c:v>41828</c:v>
                </c:pt>
                <c:pt idx="183">
                  <c:v>41835</c:v>
                </c:pt>
                <c:pt idx="184">
                  <c:v>41842</c:v>
                </c:pt>
                <c:pt idx="185">
                  <c:v>41849</c:v>
                </c:pt>
                <c:pt idx="186">
                  <c:v>41856</c:v>
                </c:pt>
                <c:pt idx="187">
                  <c:v>41863</c:v>
                </c:pt>
                <c:pt idx="188">
                  <c:v>41870</c:v>
                </c:pt>
                <c:pt idx="189">
                  <c:v>41877</c:v>
                </c:pt>
                <c:pt idx="190">
                  <c:v>41884</c:v>
                </c:pt>
                <c:pt idx="191">
                  <c:v>41891</c:v>
                </c:pt>
                <c:pt idx="192">
                  <c:v>41898</c:v>
                </c:pt>
                <c:pt idx="193">
                  <c:v>41905</c:v>
                </c:pt>
                <c:pt idx="194">
                  <c:v>41912</c:v>
                </c:pt>
                <c:pt idx="195">
                  <c:v>41919</c:v>
                </c:pt>
                <c:pt idx="196">
                  <c:v>41926</c:v>
                </c:pt>
                <c:pt idx="197">
                  <c:v>41933</c:v>
                </c:pt>
                <c:pt idx="198">
                  <c:v>41940</c:v>
                </c:pt>
                <c:pt idx="199">
                  <c:v>41947</c:v>
                </c:pt>
                <c:pt idx="200">
                  <c:v>41954</c:v>
                </c:pt>
                <c:pt idx="201">
                  <c:v>41961</c:v>
                </c:pt>
                <c:pt idx="202">
                  <c:v>41968</c:v>
                </c:pt>
                <c:pt idx="203">
                  <c:v>41975</c:v>
                </c:pt>
                <c:pt idx="204">
                  <c:v>41982</c:v>
                </c:pt>
                <c:pt idx="205">
                  <c:v>41989</c:v>
                </c:pt>
                <c:pt idx="206">
                  <c:v>41996</c:v>
                </c:pt>
                <c:pt idx="207">
                  <c:v>42003</c:v>
                </c:pt>
                <c:pt idx="208">
                  <c:v>42010</c:v>
                </c:pt>
                <c:pt idx="209">
                  <c:v>42017</c:v>
                </c:pt>
                <c:pt idx="210">
                  <c:v>42024</c:v>
                </c:pt>
                <c:pt idx="211">
                  <c:v>42031</c:v>
                </c:pt>
                <c:pt idx="212">
                  <c:v>42038</c:v>
                </c:pt>
                <c:pt idx="213">
                  <c:v>42045</c:v>
                </c:pt>
                <c:pt idx="214">
                  <c:v>42052</c:v>
                </c:pt>
                <c:pt idx="215">
                  <c:v>42059</c:v>
                </c:pt>
                <c:pt idx="216">
                  <c:v>42066</c:v>
                </c:pt>
                <c:pt idx="217">
                  <c:v>42073</c:v>
                </c:pt>
                <c:pt idx="218">
                  <c:v>42080</c:v>
                </c:pt>
                <c:pt idx="219">
                  <c:v>42087</c:v>
                </c:pt>
                <c:pt idx="220">
                  <c:v>42094</c:v>
                </c:pt>
                <c:pt idx="221">
                  <c:v>42101</c:v>
                </c:pt>
                <c:pt idx="222">
                  <c:v>42108</c:v>
                </c:pt>
                <c:pt idx="223">
                  <c:v>42115</c:v>
                </c:pt>
                <c:pt idx="224">
                  <c:v>42122</c:v>
                </c:pt>
                <c:pt idx="225">
                  <c:v>42129</c:v>
                </c:pt>
                <c:pt idx="226">
                  <c:v>42136</c:v>
                </c:pt>
                <c:pt idx="227">
                  <c:v>42143</c:v>
                </c:pt>
                <c:pt idx="228">
                  <c:v>42150</c:v>
                </c:pt>
                <c:pt idx="229">
                  <c:v>42157</c:v>
                </c:pt>
                <c:pt idx="230">
                  <c:v>42164</c:v>
                </c:pt>
                <c:pt idx="231">
                  <c:v>42171</c:v>
                </c:pt>
                <c:pt idx="232">
                  <c:v>42178</c:v>
                </c:pt>
                <c:pt idx="233">
                  <c:v>42185</c:v>
                </c:pt>
                <c:pt idx="234">
                  <c:v>42192</c:v>
                </c:pt>
                <c:pt idx="235">
                  <c:v>42199</c:v>
                </c:pt>
                <c:pt idx="236">
                  <c:v>42206</c:v>
                </c:pt>
                <c:pt idx="237">
                  <c:v>42213</c:v>
                </c:pt>
                <c:pt idx="238">
                  <c:v>42220</c:v>
                </c:pt>
                <c:pt idx="239">
                  <c:v>42227</c:v>
                </c:pt>
                <c:pt idx="240">
                  <c:v>42234</c:v>
                </c:pt>
                <c:pt idx="241">
                  <c:v>42241</c:v>
                </c:pt>
                <c:pt idx="242">
                  <c:v>42248</c:v>
                </c:pt>
                <c:pt idx="243">
                  <c:v>42255</c:v>
                </c:pt>
                <c:pt idx="244">
                  <c:v>42262</c:v>
                </c:pt>
                <c:pt idx="245">
                  <c:v>42269</c:v>
                </c:pt>
                <c:pt idx="246">
                  <c:v>42276</c:v>
                </c:pt>
                <c:pt idx="247">
                  <c:v>42283</c:v>
                </c:pt>
                <c:pt idx="248">
                  <c:v>42290</c:v>
                </c:pt>
                <c:pt idx="249">
                  <c:v>42297</c:v>
                </c:pt>
                <c:pt idx="250">
                  <c:v>42304</c:v>
                </c:pt>
                <c:pt idx="251">
                  <c:v>42311</c:v>
                </c:pt>
                <c:pt idx="252">
                  <c:v>42318</c:v>
                </c:pt>
                <c:pt idx="253">
                  <c:v>42325</c:v>
                </c:pt>
                <c:pt idx="254">
                  <c:v>42332</c:v>
                </c:pt>
                <c:pt idx="255">
                  <c:v>42339</c:v>
                </c:pt>
                <c:pt idx="256">
                  <c:v>42346</c:v>
                </c:pt>
                <c:pt idx="257">
                  <c:v>42353</c:v>
                </c:pt>
                <c:pt idx="258">
                  <c:v>42360</c:v>
                </c:pt>
                <c:pt idx="259">
                  <c:v>42367</c:v>
                </c:pt>
                <c:pt idx="260">
                  <c:v>42374</c:v>
                </c:pt>
                <c:pt idx="261">
                  <c:v>42381</c:v>
                </c:pt>
                <c:pt idx="262">
                  <c:v>42388</c:v>
                </c:pt>
                <c:pt idx="263">
                  <c:v>42395</c:v>
                </c:pt>
                <c:pt idx="264">
                  <c:v>42402</c:v>
                </c:pt>
                <c:pt idx="265">
                  <c:v>42409</c:v>
                </c:pt>
                <c:pt idx="266">
                  <c:v>42416</c:v>
                </c:pt>
                <c:pt idx="267">
                  <c:v>42423</c:v>
                </c:pt>
                <c:pt idx="268">
                  <c:v>42430</c:v>
                </c:pt>
                <c:pt idx="269">
                  <c:v>42437</c:v>
                </c:pt>
                <c:pt idx="270">
                  <c:v>42444</c:v>
                </c:pt>
                <c:pt idx="271">
                  <c:v>42451</c:v>
                </c:pt>
                <c:pt idx="272">
                  <c:v>42458</c:v>
                </c:pt>
                <c:pt idx="273">
                  <c:v>42465</c:v>
                </c:pt>
                <c:pt idx="274">
                  <c:v>42472</c:v>
                </c:pt>
                <c:pt idx="275">
                  <c:v>42479</c:v>
                </c:pt>
                <c:pt idx="276">
                  <c:v>42486</c:v>
                </c:pt>
                <c:pt idx="277">
                  <c:v>42493</c:v>
                </c:pt>
                <c:pt idx="278">
                  <c:v>42500</c:v>
                </c:pt>
                <c:pt idx="279">
                  <c:v>42507</c:v>
                </c:pt>
                <c:pt idx="280">
                  <c:v>42514</c:v>
                </c:pt>
                <c:pt idx="281">
                  <c:v>42521</c:v>
                </c:pt>
                <c:pt idx="282">
                  <c:v>42528</c:v>
                </c:pt>
                <c:pt idx="283">
                  <c:v>42535</c:v>
                </c:pt>
                <c:pt idx="284">
                  <c:v>42542</c:v>
                </c:pt>
                <c:pt idx="285">
                  <c:v>42549</c:v>
                </c:pt>
                <c:pt idx="286">
                  <c:v>42556</c:v>
                </c:pt>
                <c:pt idx="287">
                  <c:v>42563</c:v>
                </c:pt>
                <c:pt idx="288">
                  <c:v>42570</c:v>
                </c:pt>
                <c:pt idx="289">
                  <c:v>42577</c:v>
                </c:pt>
                <c:pt idx="290">
                  <c:v>42584</c:v>
                </c:pt>
                <c:pt idx="291">
                  <c:v>42591</c:v>
                </c:pt>
                <c:pt idx="292">
                  <c:v>42598</c:v>
                </c:pt>
                <c:pt idx="293">
                  <c:v>42605</c:v>
                </c:pt>
                <c:pt idx="294">
                  <c:v>42612</c:v>
                </c:pt>
                <c:pt idx="295">
                  <c:v>42619</c:v>
                </c:pt>
                <c:pt idx="296">
                  <c:v>42626</c:v>
                </c:pt>
                <c:pt idx="297">
                  <c:v>42633</c:v>
                </c:pt>
                <c:pt idx="298">
                  <c:v>42640</c:v>
                </c:pt>
                <c:pt idx="299">
                  <c:v>42647</c:v>
                </c:pt>
                <c:pt idx="300">
                  <c:v>42654</c:v>
                </c:pt>
                <c:pt idx="301">
                  <c:v>42661</c:v>
                </c:pt>
                <c:pt idx="302">
                  <c:v>42668</c:v>
                </c:pt>
                <c:pt idx="303">
                  <c:v>42675</c:v>
                </c:pt>
                <c:pt idx="304">
                  <c:v>42682</c:v>
                </c:pt>
                <c:pt idx="305">
                  <c:v>42689</c:v>
                </c:pt>
                <c:pt idx="306">
                  <c:v>42696</c:v>
                </c:pt>
                <c:pt idx="307">
                  <c:v>42703</c:v>
                </c:pt>
                <c:pt idx="308">
                  <c:v>42710</c:v>
                </c:pt>
                <c:pt idx="309">
                  <c:v>42717</c:v>
                </c:pt>
                <c:pt idx="310">
                  <c:v>42724</c:v>
                </c:pt>
                <c:pt idx="311">
                  <c:v>42731</c:v>
                </c:pt>
                <c:pt idx="312">
                  <c:v>42738</c:v>
                </c:pt>
                <c:pt idx="313">
                  <c:v>42745</c:v>
                </c:pt>
                <c:pt idx="314">
                  <c:v>42752</c:v>
                </c:pt>
                <c:pt idx="315">
                  <c:v>42759</c:v>
                </c:pt>
                <c:pt idx="316">
                  <c:v>42766</c:v>
                </c:pt>
                <c:pt idx="317">
                  <c:v>42773</c:v>
                </c:pt>
                <c:pt idx="318">
                  <c:v>42780</c:v>
                </c:pt>
                <c:pt idx="319">
                  <c:v>42787</c:v>
                </c:pt>
                <c:pt idx="320">
                  <c:v>42794</c:v>
                </c:pt>
                <c:pt idx="321">
                  <c:v>42801</c:v>
                </c:pt>
                <c:pt idx="322">
                  <c:v>42808</c:v>
                </c:pt>
                <c:pt idx="323">
                  <c:v>42815</c:v>
                </c:pt>
                <c:pt idx="324">
                  <c:v>42822</c:v>
                </c:pt>
                <c:pt idx="325">
                  <c:v>42829</c:v>
                </c:pt>
                <c:pt idx="326">
                  <c:v>42836</c:v>
                </c:pt>
                <c:pt idx="327">
                  <c:v>42843</c:v>
                </c:pt>
                <c:pt idx="328">
                  <c:v>42850</c:v>
                </c:pt>
                <c:pt idx="329">
                  <c:v>42857</c:v>
                </c:pt>
                <c:pt idx="330">
                  <c:v>42864</c:v>
                </c:pt>
                <c:pt idx="331">
                  <c:v>42871</c:v>
                </c:pt>
                <c:pt idx="332">
                  <c:v>42878</c:v>
                </c:pt>
                <c:pt idx="333">
                  <c:v>42885</c:v>
                </c:pt>
                <c:pt idx="334">
                  <c:v>42892</c:v>
                </c:pt>
                <c:pt idx="335">
                  <c:v>42899</c:v>
                </c:pt>
                <c:pt idx="336">
                  <c:v>42906</c:v>
                </c:pt>
                <c:pt idx="337">
                  <c:v>42913</c:v>
                </c:pt>
                <c:pt idx="338">
                  <c:v>42920</c:v>
                </c:pt>
                <c:pt idx="339">
                  <c:v>42927</c:v>
                </c:pt>
                <c:pt idx="340">
                  <c:v>42934</c:v>
                </c:pt>
                <c:pt idx="341">
                  <c:v>42941</c:v>
                </c:pt>
                <c:pt idx="342">
                  <c:v>42948</c:v>
                </c:pt>
                <c:pt idx="343">
                  <c:v>42955</c:v>
                </c:pt>
                <c:pt idx="344">
                  <c:v>42962</c:v>
                </c:pt>
                <c:pt idx="345">
                  <c:v>42969</c:v>
                </c:pt>
                <c:pt idx="346">
                  <c:v>42976</c:v>
                </c:pt>
                <c:pt idx="347">
                  <c:v>42983</c:v>
                </c:pt>
                <c:pt idx="348">
                  <c:v>42990</c:v>
                </c:pt>
                <c:pt idx="349">
                  <c:v>42997</c:v>
                </c:pt>
                <c:pt idx="350">
                  <c:v>43004</c:v>
                </c:pt>
                <c:pt idx="351">
                  <c:v>43011</c:v>
                </c:pt>
                <c:pt idx="352">
                  <c:v>43018</c:v>
                </c:pt>
                <c:pt idx="353">
                  <c:v>43025</c:v>
                </c:pt>
                <c:pt idx="354">
                  <c:v>43032</c:v>
                </c:pt>
                <c:pt idx="355">
                  <c:v>43039</c:v>
                </c:pt>
                <c:pt idx="356">
                  <c:v>43046</c:v>
                </c:pt>
                <c:pt idx="357">
                  <c:v>43053</c:v>
                </c:pt>
                <c:pt idx="358">
                  <c:v>43060</c:v>
                </c:pt>
                <c:pt idx="359">
                  <c:v>43067</c:v>
                </c:pt>
                <c:pt idx="360">
                  <c:v>43074</c:v>
                </c:pt>
                <c:pt idx="361">
                  <c:v>43081</c:v>
                </c:pt>
                <c:pt idx="362">
                  <c:v>43088</c:v>
                </c:pt>
                <c:pt idx="363">
                  <c:v>43095</c:v>
                </c:pt>
                <c:pt idx="364">
                  <c:v>43102</c:v>
                </c:pt>
                <c:pt idx="365">
                  <c:v>43109</c:v>
                </c:pt>
                <c:pt idx="366">
                  <c:v>43116</c:v>
                </c:pt>
                <c:pt idx="367">
                  <c:v>43123</c:v>
                </c:pt>
                <c:pt idx="368">
                  <c:v>43130</c:v>
                </c:pt>
                <c:pt idx="369">
                  <c:v>43137</c:v>
                </c:pt>
                <c:pt idx="370">
                  <c:v>43144</c:v>
                </c:pt>
                <c:pt idx="371">
                  <c:v>43151</c:v>
                </c:pt>
                <c:pt idx="372">
                  <c:v>43158</c:v>
                </c:pt>
                <c:pt idx="373">
                  <c:v>43165</c:v>
                </c:pt>
                <c:pt idx="374">
                  <c:v>43172</c:v>
                </c:pt>
                <c:pt idx="375">
                  <c:v>43179</c:v>
                </c:pt>
                <c:pt idx="376">
                  <c:v>43186</c:v>
                </c:pt>
                <c:pt idx="377">
                  <c:v>43193</c:v>
                </c:pt>
                <c:pt idx="378">
                  <c:v>43200</c:v>
                </c:pt>
                <c:pt idx="379">
                  <c:v>43207</c:v>
                </c:pt>
                <c:pt idx="380">
                  <c:v>43214</c:v>
                </c:pt>
                <c:pt idx="381">
                  <c:v>43221</c:v>
                </c:pt>
                <c:pt idx="382">
                  <c:v>43228</c:v>
                </c:pt>
                <c:pt idx="383">
                  <c:v>43235</c:v>
                </c:pt>
                <c:pt idx="384">
                  <c:v>43242</c:v>
                </c:pt>
                <c:pt idx="385">
                  <c:v>43249</c:v>
                </c:pt>
                <c:pt idx="386">
                  <c:v>43256</c:v>
                </c:pt>
                <c:pt idx="387">
                  <c:v>43263</c:v>
                </c:pt>
                <c:pt idx="388">
                  <c:v>43270</c:v>
                </c:pt>
                <c:pt idx="389">
                  <c:v>43277</c:v>
                </c:pt>
                <c:pt idx="390">
                  <c:v>43284</c:v>
                </c:pt>
                <c:pt idx="391">
                  <c:v>43291</c:v>
                </c:pt>
                <c:pt idx="392">
                  <c:v>43298</c:v>
                </c:pt>
                <c:pt idx="393">
                  <c:v>43305</c:v>
                </c:pt>
                <c:pt idx="394">
                  <c:v>43312</c:v>
                </c:pt>
                <c:pt idx="395">
                  <c:v>43319</c:v>
                </c:pt>
                <c:pt idx="396">
                  <c:v>43326</c:v>
                </c:pt>
                <c:pt idx="397">
                  <c:v>43333</c:v>
                </c:pt>
                <c:pt idx="398">
                  <c:v>43340</c:v>
                </c:pt>
                <c:pt idx="399">
                  <c:v>43347</c:v>
                </c:pt>
                <c:pt idx="400">
                  <c:v>43354</c:v>
                </c:pt>
                <c:pt idx="401">
                  <c:v>43361</c:v>
                </c:pt>
                <c:pt idx="402">
                  <c:v>43368</c:v>
                </c:pt>
                <c:pt idx="403">
                  <c:v>43375</c:v>
                </c:pt>
                <c:pt idx="404">
                  <c:v>43382</c:v>
                </c:pt>
                <c:pt idx="405">
                  <c:v>43389</c:v>
                </c:pt>
                <c:pt idx="406">
                  <c:v>43396</c:v>
                </c:pt>
                <c:pt idx="407">
                  <c:v>43403</c:v>
                </c:pt>
                <c:pt idx="408">
                  <c:v>43410</c:v>
                </c:pt>
                <c:pt idx="409">
                  <c:v>43417</c:v>
                </c:pt>
                <c:pt idx="410">
                  <c:v>43424</c:v>
                </c:pt>
                <c:pt idx="411">
                  <c:v>43431</c:v>
                </c:pt>
                <c:pt idx="412">
                  <c:v>43438</c:v>
                </c:pt>
                <c:pt idx="413">
                  <c:v>43445</c:v>
                </c:pt>
                <c:pt idx="414">
                  <c:v>43452</c:v>
                </c:pt>
                <c:pt idx="415">
                  <c:v>43459</c:v>
                </c:pt>
                <c:pt idx="416">
                  <c:v>43466</c:v>
                </c:pt>
                <c:pt idx="417">
                  <c:v>43473</c:v>
                </c:pt>
                <c:pt idx="418">
                  <c:v>43480</c:v>
                </c:pt>
                <c:pt idx="419">
                  <c:v>43487</c:v>
                </c:pt>
                <c:pt idx="420">
                  <c:v>43494</c:v>
                </c:pt>
                <c:pt idx="421">
                  <c:v>43501</c:v>
                </c:pt>
                <c:pt idx="422">
                  <c:v>43508</c:v>
                </c:pt>
                <c:pt idx="423">
                  <c:v>43515</c:v>
                </c:pt>
                <c:pt idx="424">
                  <c:v>43522</c:v>
                </c:pt>
                <c:pt idx="425">
                  <c:v>43529</c:v>
                </c:pt>
                <c:pt idx="426">
                  <c:v>43536</c:v>
                </c:pt>
                <c:pt idx="427">
                  <c:v>43543</c:v>
                </c:pt>
                <c:pt idx="428">
                  <c:v>43550</c:v>
                </c:pt>
                <c:pt idx="429">
                  <c:v>43557</c:v>
                </c:pt>
                <c:pt idx="430">
                  <c:v>43564</c:v>
                </c:pt>
                <c:pt idx="431">
                  <c:v>43571</c:v>
                </c:pt>
                <c:pt idx="432">
                  <c:v>43578</c:v>
                </c:pt>
                <c:pt idx="433">
                  <c:v>43585</c:v>
                </c:pt>
                <c:pt idx="434">
                  <c:v>43592</c:v>
                </c:pt>
                <c:pt idx="435">
                  <c:v>43599</c:v>
                </c:pt>
                <c:pt idx="436">
                  <c:v>43606</c:v>
                </c:pt>
                <c:pt idx="437">
                  <c:v>43613</c:v>
                </c:pt>
                <c:pt idx="438">
                  <c:v>43620</c:v>
                </c:pt>
                <c:pt idx="439">
                  <c:v>43627</c:v>
                </c:pt>
                <c:pt idx="440">
                  <c:v>43634</c:v>
                </c:pt>
                <c:pt idx="441">
                  <c:v>43641</c:v>
                </c:pt>
                <c:pt idx="442">
                  <c:v>43648</c:v>
                </c:pt>
                <c:pt idx="443">
                  <c:v>43655</c:v>
                </c:pt>
                <c:pt idx="444">
                  <c:v>43662</c:v>
                </c:pt>
                <c:pt idx="445">
                  <c:v>43669</c:v>
                </c:pt>
                <c:pt idx="446">
                  <c:v>43676</c:v>
                </c:pt>
                <c:pt idx="447">
                  <c:v>43683</c:v>
                </c:pt>
                <c:pt idx="448">
                  <c:v>43690</c:v>
                </c:pt>
                <c:pt idx="449">
                  <c:v>43697</c:v>
                </c:pt>
                <c:pt idx="450">
                  <c:v>43704</c:v>
                </c:pt>
                <c:pt idx="451">
                  <c:v>43711</c:v>
                </c:pt>
                <c:pt idx="452">
                  <c:v>43718</c:v>
                </c:pt>
                <c:pt idx="453">
                  <c:v>43725</c:v>
                </c:pt>
                <c:pt idx="454">
                  <c:v>43732</c:v>
                </c:pt>
                <c:pt idx="455">
                  <c:v>43739</c:v>
                </c:pt>
                <c:pt idx="456">
                  <c:v>43746</c:v>
                </c:pt>
                <c:pt idx="457">
                  <c:v>43753</c:v>
                </c:pt>
                <c:pt idx="458">
                  <c:v>43760</c:v>
                </c:pt>
                <c:pt idx="459">
                  <c:v>43767</c:v>
                </c:pt>
                <c:pt idx="460">
                  <c:v>43774</c:v>
                </c:pt>
                <c:pt idx="461">
                  <c:v>43781</c:v>
                </c:pt>
                <c:pt idx="462">
                  <c:v>43788</c:v>
                </c:pt>
                <c:pt idx="463">
                  <c:v>43795</c:v>
                </c:pt>
                <c:pt idx="464">
                  <c:v>43802</c:v>
                </c:pt>
                <c:pt idx="465">
                  <c:v>43809</c:v>
                </c:pt>
                <c:pt idx="466">
                  <c:v>43816</c:v>
                </c:pt>
                <c:pt idx="467">
                  <c:v>43823</c:v>
                </c:pt>
                <c:pt idx="468">
                  <c:v>43830</c:v>
                </c:pt>
                <c:pt idx="469">
                  <c:v>43837</c:v>
                </c:pt>
                <c:pt idx="470">
                  <c:v>43844</c:v>
                </c:pt>
                <c:pt idx="471">
                  <c:v>43851</c:v>
                </c:pt>
                <c:pt idx="472">
                  <c:v>43858</c:v>
                </c:pt>
                <c:pt idx="473">
                  <c:v>43865</c:v>
                </c:pt>
                <c:pt idx="474">
                  <c:v>43872</c:v>
                </c:pt>
                <c:pt idx="475">
                  <c:v>43879</c:v>
                </c:pt>
                <c:pt idx="476">
                  <c:v>43886</c:v>
                </c:pt>
                <c:pt idx="477">
                  <c:v>43893</c:v>
                </c:pt>
                <c:pt idx="478">
                  <c:v>43900</c:v>
                </c:pt>
                <c:pt idx="479">
                  <c:v>43907</c:v>
                </c:pt>
                <c:pt idx="480">
                  <c:v>43914</c:v>
                </c:pt>
                <c:pt idx="481">
                  <c:v>43921</c:v>
                </c:pt>
                <c:pt idx="482">
                  <c:v>43928</c:v>
                </c:pt>
                <c:pt idx="483">
                  <c:v>43935</c:v>
                </c:pt>
                <c:pt idx="484">
                  <c:v>43942</c:v>
                </c:pt>
                <c:pt idx="485">
                  <c:v>43949</c:v>
                </c:pt>
                <c:pt idx="486">
                  <c:v>43956</c:v>
                </c:pt>
                <c:pt idx="487">
                  <c:v>43963</c:v>
                </c:pt>
                <c:pt idx="488">
                  <c:v>43970</c:v>
                </c:pt>
                <c:pt idx="489">
                  <c:v>43977</c:v>
                </c:pt>
                <c:pt idx="490">
                  <c:v>43984</c:v>
                </c:pt>
                <c:pt idx="491">
                  <c:v>43991</c:v>
                </c:pt>
                <c:pt idx="492">
                  <c:v>43998</c:v>
                </c:pt>
                <c:pt idx="493">
                  <c:v>44005</c:v>
                </c:pt>
                <c:pt idx="494">
                  <c:v>44012</c:v>
                </c:pt>
                <c:pt idx="495">
                  <c:v>44019</c:v>
                </c:pt>
                <c:pt idx="496">
                  <c:v>44026</c:v>
                </c:pt>
                <c:pt idx="497">
                  <c:v>44033</c:v>
                </c:pt>
                <c:pt idx="498">
                  <c:v>44040</c:v>
                </c:pt>
                <c:pt idx="499">
                  <c:v>44047</c:v>
                </c:pt>
                <c:pt idx="500">
                  <c:v>44054</c:v>
                </c:pt>
                <c:pt idx="501">
                  <c:v>44061</c:v>
                </c:pt>
                <c:pt idx="502">
                  <c:v>44068</c:v>
                </c:pt>
                <c:pt idx="503">
                  <c:v>44075</c:v>
                </c:pt>
                <c:pt idx="504">
                  <c:v>44082</c:v>
                </c:pt>
                <c:pt idx="505">
                  <c:v>44089</c:v>
                </c:pt>
                <c:pt idx="506">
                  <c:v>44096</c:v>
                </c:pt>
                <c:pt idx="507">
                  <c:v>44103</c:v>
                </c:pt>
                <c:pt idx="508">
                  <c:v>44110</c:v>
                </c:pt>
                <c:pt idx="509">
                  <c:v>44117</c:v>
                </c:pt>
                <c:pt idx="510">
                  <c:v>44124</c:v>
                </c:pt>
                <c:pt idx="511">
                  <c:v>44131</c:v>
                </c:pt>
                <c:pt idx="512">
                  <c:v>44138</c:v>
                </c:pt>
                <c:pt idx="513">
                  <c:v>44145</c:v>
                </c:pt>
                <c:pt idx="514">
                  <c:v>44152</c:v>
                </c:pt>
                <c:pt idx="515">
                  <c:v>44159</c:v>
                </c:pt>
                <c:pt idx="516">
                  <c:v>44166</c:v>
                </c:pt>
                <c:pt idx="517">
                  <c:v>44173</c:v>
                </c:pt>
                <c:pt idx="518">
                  <c:v>44180</c:v>
                </c:pt>
                <c:pt idx="519">
                  <c:v>44187</c:v>
                </c:pt>
                <c:pt idx="520">
                  <c:v>44194</c:v>
                </c:pt>
                <c:pt idx="521">
                  <c:v>44201</c:v>
                </c:pt>
                <c:pt idx="522">
                  <c:v>44208</c:v>
                </c:pt>
                <c:pt idx="523">
                  <c:v>44215</c:v>
                </c:pt>
                <c:pt idx="524">
                  <c:v>44222</c:v>
                </c:pt>
                <c:pt idx="525">
                  <c:v>44229</c:v>
                </c:pt>
                <c:pt idx="526">
                  <c:v>44236</c:v>
                </c:pt>
                <c:pt idx="527">
                  <c:v>44243</c:v>
                </c:pt>
                <c:pt idx="528">
                  <c:v>44250</c:v>
                </c:pt>
                <c:pt idx="529">
                  <c:v>44257</c:v>
                </c:pt>
                <c:pt idx="530">
                  <c:v>44264</c:v>
                </c:pt>
                <c:pt idx="531">
                  <c:v>44271</c:v>
                </c:pt>
                <c:pt idx="532">
                  <c:v>44278</c:v>
                </c:pt>
                <c:pt idx="533">
                  <c:v>44285</c:v>
                </c:pt>
                <c:pt idx="534">
                  <c:v>44292</c:v>
                </c:pt>
                <c:pt idx="535">
                  <c:v>44299</c:v>
                </c:pt>
                <c:pt idx="536">
                  <c:v>44306</c:v>
                </c:pt>
                <c:pt idx="537">
                  <c:v>44313</c:v>
                </c:pt>
                <c:pt idx="538">
                  <c:v>44320</c:v>
                </c:pt>
                <c:pt idx="539">
                  <c:v>44327</c:v>
                </c:pt>
                <c:pt idx="540">
                  <c:v>44334</c:v>
                </c:pt>
                <c:pt idx="541">
                  <c:v>44341</c:v>
                </c:pt>
                <c:pt idx="542">
                  <c:v>44348</c:v>
                </c:pt>
                <c:pt idx="543">
                  <c:v>44355</c:v>
                </c:pt>
                <c:pt idx="544">
                  <c:v>44362</c:v>
                </c:pt>
                <c:pt idx="545">
                  <c:v>44369</c:v>
                </c:pt>
                <c:pt idx="546">
                  <c:v>44376</c:v>
                </c:pt>
                <c:pt idx="547">
                  <c:v>44383</c:v>
                </c:pt>
                <c:pt idx="548">
                  <c:v>44390</c:v>
                </c:pt>
                <c:pt idx="549">
                  <c:v>44397</c:v>
                </c:pt>
                <c:pt idx="550">
                  <c:v>44404</c:v>
                </c:pt>
                <c:pt idx="551">
                  <c:v>44411</c:v>
                </c:pt>
                <c:pt idx="552">
                  <c:v>44418</c:v>
                </c:pt>
                <c:pt idx="553">
                  <c:v>44425</c:v>
                </c:pt>
                <c:pt idx="554">
                  <c:v>44432</c:v>
                </c:pt>
                <c:pt idx="555">
                  <c:v>44439</c:v>
                </c:pt>
                <c:pt idx="556">
                  <c:v>44446</c:v>
                </c:pt>
                <c:pt idx="557">
                  <c:v>44453</c:v>
                </c:pt>
                <c:pt idx="558">
                  <c:v>44460</c:v>
                </c:pt>
                <c:pt idx="559">
                  <c:v>44467</c:v>
                </c:pt>
                <c:pt idx="560">
                  <c:v>44474</c:v>
                </c:pt>
                <c:pt idx="561">
                  <c:v>44481</c:v>
                </c:pt>
                <c:pt idx="562">
                  <c:v>44488</c:v>
                </c:pt>
                <c:pt idx="563">
                  <c:v>44495</c:v>
                </c:pt>
                <c:pt idx="564">
                  <c:v>44502</c:v>
                </c:pt>
                <c:pt idx="565">
                  <c:v>44509</c:v>
                </c:pt>
                <c:pt idx="566">
                  <c:v>44516</c:v>
                </c:pt>
                <c:pt idx="567">
                  <c:v>44523</c:v>
                </c:pt>
                <c:pt idx="568">
                  <c:v>44530</c:v>
                </c:pt>
                <c:pt idx="569">
                  <c:v>44537</c:v>
                </c:pt>
                <c:pt idx="570">
                  <c:v>44544</c:v>
                </c:pt>
                <c:pt idx="571">
                  <c:v>44551</c:v>
                </c:pt>
                <c:pt idx="572">
                  <c:v>44558</c:v>
                </c:pt>
                <c:pt idx="573">
                  <c:v>44565</c:v>
                </c:pt>
                <c:pt idx="574">
                  <c:v>44572</c:v>
                </c:pt>
                <c:pt idx="575">
                  <c:v>44579</c:v>
                </c:pt>
                <c:pt idx="576">
                  <c:v>44586</c:v>
                </c:pt>
                <c:pt idx="577">
                  <c:v>44593</c:v>
                </c:pt>
                <c:pt idx="578">
                  <c:v>44600</c:v>
                </c:pt>
                <c:pt idx="579">
                  <c:v>44607</c:v>
                </c:pt>
                <c:pt idx="580">
                  <c:v>44614</c:v>
                </c:pt>
                <c:pt idx="581">
                  <c:v>44621</c:v>
                </c:pt>
                <c:pt idx="582">
                  <c:v>44628</c:v>
                </c:pt>
                <c:pt idx="583">
                  <c:v>44635</c:v>
                </c:pt>
                <c:pt idx="584">
                  <c:v>44642</c:v>
                </c:pt>
                <c:pt idx="585">
                  <c:v>44649</c:v>
                </c:pt>
                <c:pt idx="586">
                  <c:v>44656</c:v>
                </c:pt>
                <c:pt idx="587">
                  <c:v>44663</c:v>
                </c:pt>
                <c:pt idx="588">
                  <c:v>44670</c:v>
                </c:pt>
                <c:pt idx="589">
                  <c:v>44677</c:v>
                </c:pt>
                <c:pt idx="590">
                  <c:v>44684</c:v>
                </c:pt>
                <c:pt idx="591">
                  <c:v>44691</c:v>
                </c:pt>
                <c:pt idx="592">
                  <c:v>44698</c:v>
                </c:pt>
                <c:pt idx="593">
                  <c:v>44705</c:v>
                </c:pt>
                <c:pt idx="594">
                  <c:v>44712</c:v>
                </c:pt>
                <c:pt idx="595">
                  <c:v>44719</c:v>
                </c:pt>
                <c:pt idx="596">
                  <c:v>44726</c:v>
                </c:pt>
                <c:pt idx="597">
                  <c:v>44733</c:v>
                </c:pt>
                <c:pt idx="598">
                  <c:v>44740</c:v>
                </c:pt>
                <c:pt idx="599">
                  <c:v>44747</c:v>
                </c:pt>
                <c:pt idx="600">
                  <c:v>44754</c:v>
                </c:pt>
                <c:pt idx="601">
                  <c:v>44761</c:v>
                </c:pt>
                <c:pt idx="602">
                  <c:v>44768</c:v>
                </c:pt>
                <c:pt idx="603">
                  <c:v>44775</c:v>
                </c:pt>
                <c:pt idx="604">
                  <c:v>44782</c:v>
                </c:pt>
                <c:pt idx="605">
                  <c:v>44789</c:v>
                </c:pt>
                <c:pt idx="606">
                  <c:v>44796</c:v>
                </c:pt>
                <c:pt idx="607">
                  <c:v>44803</c:v>
                </c:pt>
                <c:pt idx="608">
                  <c:v>44810</c:v>
                </c:pt>
                <c:pt idx="609">
                  <c:v>44817</c:v>
                </c:pt>
                <c:pt idx="610">
                  <c:v>44824</c:v>
                </c:pt>
                <c:pt idx="611">
                  <c:v>44831</c:v>
                </c:pt>
                <c:pt idx="612">
                  <c:v>44838</c:v>
                </c:pt>
                <c:pt idx="613">
                  <c:v>44845</c:v>
                </c:pt>
                <c:pt idx="614">
                  <c:v>44852</c:v>
                </c:pt>
                <c:pt idx="615">
                  <c:v>44859</c:v>
                </c:pt>
                <c:pt idx="616">
                  <c:v>44866</c:v>
                </c:pt>
                <c:pt idx="617">
                  <c:v>44873</c:v>
                </c:pt>
                <c:pt idx="618">
                  <c:v>44880</c:v>
                </c:pt>
                <c:pt idx="619">
                  <c:v>44887</c:v>
                </c:pt>
                <c:pt idx="620">
                  <c:v>44894</c:v>
                </c:pt>
                <c:pt idx="621">
                  <c:v>44901</c:v>
                </c:pt>
                <c:pt idx="622">
                  <c:v>44908</c:v>
                </c:pt>
                <c:pt idx="623">
                  <c:v>44915</c:v>
                </c:pt>
                <c:pt idx="624">
                  <c:v>44922</c:v>
                </c:pt>
                <c:pt idx="625">
                  <c:v>44929</c:v>
                </c:pt>
                <c:pt idx="626">
                  <c:v>44936</c:v>
                </c:pt>
                <c:pt idx="627">
                  <c:v>44943</c:v>
                </c:pt>
                <c:pt idx="628">
                  <c:v>44950</c:v>
                </c:pt>
                <c:pt idx="629">
                  <c:v>44957</c:v>
                </c:pt>
                <c:pt idx="630">
                  <c:v>44964</c:v>
                </c:pt>
                <c:pt idx="631">
                  <c:v>44971</c:v>
                </c:pt>
                <c:pt idx="632">
                  <c:v>44978</c:v>
                </c:pt>
                <c:pt idx="633">
                  <c:v>44985</c:v>
                </c:pt>
                <c:pt idx="634">
                  <c:v>44992</c:v>
                </c:pt>
                <c:pt idx="635">
                  <c:v>44999</c:v>
                </c:pt>
                <c:pt idx="636">
                  <c:v>45006</c:v>
                </c:pt>
                <c:pt idx="637">
                  <c:v>45013</c:v>
                </c:pt>
                <c:pt idx="638">
                  <c:v>45020</c:v>
                </c:pt>
                <c:pt idx="639">
                  <c:v>45027</c:v>
                </c:pt>
                <c:pt idx="640">
                  <c:v>45034</c:v>
                </c:pt>
                <c:pt idx="641">
                  <c:v>45041</c:v>
                </c:pt>
                <c:pt idx="642">
                  <c:v>45048</c:v>
                </c:pt>
                <c:pt idx="643">
                  <c:v>45055</c:v>
                </c:pt>
                <c:pt idx="644">
                  <c:v>45062</c:v>
                </c:pt>
                <c:pt idx="645">
                  <c:v>45069</c:v>
                </c:pt>
                <c:pt idx="646">
                  <c:v>45076</c:v>
                </c:pt>
                <c:pt idx="647">
                  <c:v>45083</c:v>
                </c:pt>
                <c:pt idx="648">
                  <c:v>45090</c:v>
                </c:pt>
                <c:pt idx="649">
                  <c:v>45097</c:v>
                </c:pt>
                <c:pt idx="650">
                  <c:v>45104</c:v>
                </c:pt>
                <c:pt idx="651">
                  <c:v>45111</c:v>
                </c:pt>
                <c:pt idx="652">
                  <c:v>45118</c:v>
                </c:pt>
                <c:pt idx="653">
                  <c:v>45125</c:v>
                </c:pt>
                <c:pt idx="654">
                  <c:v>45132</c:v>
                </c:pt>
                <c:pt idx="655">
                  <c:v>45139</c:v>
                </c:pt>
                <c:pt idx="656">
                  <c:v>45146</c:v>
                </c:pt>
                <c:pt idx="657">
                  <c:v>45153</c:v>
                </c:pt>
                <c:pt idx="658">
                  <c:v>45160</c:v>
                </c:pt>
                <c:pt idx="659">
                  <c:v>45167</c:v>
                </c:pt>
                <c:pt idx="660">
                  <c:v>45174</c:v>
                </c:pt>
                <c:pt idx="661">
                  <c:v>45181</c:v>
                </c:pt>
                <c:pt idx="662">
                  <c:v>45188</c:v>
                </c:pt>
                <c:pt idx="663">
                  <c:v>45195</c:v>
                </c:pt>
                <c:pt idx="664">
                  <c:v>45202</c:v>
                </c:pt>
                <c:pt idx="665">
                  <c:v>45209</c:v>
                </c:pt>
                <c:pt idx="666">
                  <c:v>45216</c:v>
                </c:pt>
                <c:pt idx="667">
                  <c:v>45223</c:v>
                </c:pt>
                <c:pt idx="668">
                  <c:v>45230</c:v>
                </c:pt>
                <c:pt idx="669">
                  <c:v>45237</c:v>
                </c:pt>
                <c:pt idx="670">
                  <c:v>45244</c:v>
                </c:pt>
                <c:pt idx="671">
                  <c:v>45251</c:v>
                </c:pt>
                <c:pt idx="672">
                  <c:v>45258</c:v>
                </c:pt>
                <c:pt idx="673">
                  <c:v>45265</c:v>
                </c:pt>
                <c:pt idx="674">
                  <c:v>45272</c:v>
                </c:pt>
                <c:pt idx="675">
                  <c:v>45279</c:v>
                </c:pt>
                <c:pt idx="676">
                  <c:v>45286</c:v>
                </c:pt>
                <c:pt idx="677">
                  <c:v>45293</c:v>
                </c:pt>
                <c:pt idx="678">
                  <c:v>45300</c:v>
                </c:pt>
                <c:pt idx="679">
                  <c:v>45307</c:v>
                </c:pt>
                <c:pt idx="680">
                  <c:v>45314</c:v>
                </c:pt>
                <c:pt idx="681">
                  <c:v>45321</c:v>
                </c:pt>
                <c:pt idx="682">
                  <c:v>45328</c:v>
                </c:pt>
                <c:pt idx="683">
                  <c:v>45335</c:v>
                </c:pt>
                <c:pt idx="684">
                  <c:v>45342</c:v>
                </c:pt>
                <c:pt idx="685">
                  <c:v>45349</c:v>
                </c:pt>
                <c:pt idx="686">
                  <c:v>45356</c:v>
                </c:pt>
                <c:pt idx="687">
                  <c:v>45363</c:v>
                </c:pt>
                <c:pt idx="688">
                  <c:v>45370</c:v>
                </c:pt>
                <c:pt idx="689">
                  <c:v>45377</c:v>
                </c:pt>
                <c:pt idx="690">
                  <c:v>45384</c:v>
                </c:pt>
                <c:pt idx="691">
                  <c:v>45391</c:v>
                </c:pt>
                <c:pt idx="692">
                  <c:v>45398</c:v>
                </c:pt>
                <c:pt idx="693">
                  <c:v>45405</c:v>
                </c:pt>
                <c:pt idx="694">
                  <c:v>45412</c:v>
                </c:pt>
                <c:pt idx="695">
                  <c:v>45419</c:v>
                </c:pt>
                <c:pt idx="696">
                  <c:v>45426</c:v>
                </c:pt>
                <c:pt idx="697">
                  <c:v>45433</c:v>
                </c:pt>
                <c:pt idx="698">
                  <c:v>45440</c:v>
                </c:pt>
                <c:pt idx="699">
                  <c:v>45447</c:v>
                </c:pt>
                <c:pt idx="700">
                  <c:v>45454</c:v>
                </c:pt>
                <c:pt idx="701">
                  <c:v>45461</c:v>
                </c:pt>
                <c:pt idx="702">
                  <c:v>45468</c:v>
                </c:pt>
                <c:pt idx="703">
                  <c:v>45475</c:v>
                </c:pt>
                <c:pt idx="704">
                  <c:v>45482</c:v>
                </c:pt>
                <c:pt idx="705">
                  <c:v>45489</c:v>
                </c:pt>
                <c:pt idx="706">
                  <c:v>45496</c:v>
                </c:pt>
                <c:pt idx="707">
                  <c:v>45503</c:v>
                </c:pt>
                <c:pt idx="708">
                  <c:v>45510</c:v>
                </c:pt>
                <c:pt idx="709">
                  <c:v>45517</c:v>
                </c:pt>
                <c:pt idx="710">
                  <c:v>45524</c:v>
                </c:pt>
                <c:pt idx="711">
                  <c:v>45531</c:v>
                </c:pt>
                <c:pt idx="712">
                  <c:v>45538</c:v>
                </c:pt>
                <c:pt idx="713">
                  <c:v>45545</c:v>
                </c:pt>
                <c:pt idx="714">
                  <c:v>45552</c:v>
                </c:pt>
                <c:pt idx="715">
                  <c:v>45559</c:v>
                </c:pt>
                <c:pt idx="716">
                  <c:v>45566</c:v>
                </c:pt>
                <c:pt idx="717">
                  <c:v>45573</c:v>
                </c:pt>
                <c:pt idx="718">
                  <c:v>45580</c:v>
                </c:pt>
                <c:pt idx="719">
                  <c:v>45587</c:v>
                </c:pt>
                <c:pt idx="720">
                  <c:v>45594</c:v>
                </c:pt>
                <c:pt idx="721">
                  <c:v>45601</c:v>
                </c:pt>
                <c:pt idx="722">
                  <c:v>45608</c:v>
                </c:pt>
                <c:pt idx="723">
                  <c:v>45615</c:v>
                </c:pt>
                <c:pt idx="724">
                  <c:v>45622</c:v>
                </c:pt>
                <c:pt idx="725">
                  <c:v>45629</c:v>
                </c:pt>
                <c:pt idx="726">
                  <c:v>45636</c:v>
                </c:pt>
                <c:pt idx="727">
                  <c:v>45643</c:v>
                </c:pt>
                <c:pt idx="728">
                  <c:v>45650</c:v>
                </c:pt>
                <c:pt idx="729">
                  <c:v>45657</c:v>
                </c:pt>
                <c:pt idx="730">
                  <c:v>45664</c:v>
                </c:pt>
                <c:pt idx="731">
                  <c:v>45671</c:v>
                </c:pt>
                <c:pt idx="732">
                  <c:v>45678</c:v>
                </c:pt>
                <c:pt idx="733">
                  <c:v>45685</c:v>
                </c:pt>
                <c:pt idx="734">
                  <c:v>45692</c:v>
                </c:pt>
                <c:pt idx="735">
                  <c:v>45699</c:v>
                </c:pt>
                <c:pt idx="736">
                  <c:v>45706</c:v>
                </c:pt>
                <c:pt idx="737">
                  <c:v>45713</c:v>
                </c:pt>
                <c:pt idx="738">
                  <c:v>45720</c:v>
                </c:pt>
                <c:pt idx="739">
                  <c:v>45727</c:v>
                </c:pt>
                <c:pt idx="740">
                  <c:v>45734</c:v>
                </c:pt>
                <c:pt idx="741">
                  <c:v>45741</c:v>
                </c:pt>
                <c:pt idx="742">
                  <c:v>45748</c:v>
                </c:pt>
                <c:pt idx="743">
                  <c:v>45755</c:v>
                </c:pt>
                <c:pt idx="744">
                  <c:v>45762</c:v>
                </c:pt>
                <c:pt idx="745">
                  <c:v>45769</c:v>
                </c:pt>
                <c:pt idx="746">
                  <c:v>45776</c:v>
                </c:pt>
                <c:pt idx="747">
                  <c:v>45783</c:v>
                </c:pt>
                <c:pt idx="748">
                  <c:v>45790</c:v>
                </c:pt>
                <c:pt idx="749">
                  <c:v>45797</c:v>
                </c:pt>
                <c:pt idx="750">
                  <c:v>45804</c:v>
                </c:pt>
                <c:pt idx="751">
                  <c:v>45811</c:v>
                </c:pt>
                <c:pt idx="752">
                  <c:v>45818</c:v>
                </c:pt>
                <c:pt idx="753">
                  <c:v>45825</c:v>
                </c:pt>
                <c:pt idx="754">
                  <c:v>45832</c:v>
                </c:pt>
                <c:pt idx="755">
                  <c:v>45839</c:v>
                </c:pt>
                <c:pt idx="756">
                  <c:v>45846</c:v>
                </c:pt>
                <c:pt idx="757">
                  <c:v>45853</c:v>
                </c:pt>
                <c:pt idx="758">
                  <c:v>45860</c:v>
                </c:pt>
                <c:pt idx="759">
                  <c:v>45867</c:v>
                </c:pt>
                <c:pt idx="760">
                  <c:v>45874</c:v>
                </c:pt>
                <c:pt idx="761">
                  <c:v>45881</c:v>
                </c:pt>
                <c:pt idx="762">
                  <c:v>45888</c:v>
                </c:pt>
                <c:pt idx="763">
                  <c:v>45895</c:v>
                </c:pt>
                <c:pt idx="764">
                  <c:v>45902</c:v>
                </c:pt>
                <c:pt idx="765">
                  <c:v>45909</c:v>
                </c:pt>
                <c:pt idx="766">
                  <c:v>45916</c:v>
                </c:pt>
                <c:pt idx="767">
                  <c:v>45923</c:v>
                </c:pt>
                <c:pt idx="768">
                  <c:v>45930</c:v>
                </c:pt>
                <c:pt idx="769">
                  <c:v>45937</c:v>
                </c:pt>
                <c:pt idx="770">
                  <c:v>45944</c:v>
                </c:pt>
                <c:pt idx="771">
                  <c:v>45951</c:v>
                </c:pt>
                <c:pt idx="772">
                  <c:v>45958</c:v>
                </c:pt>
                <c:pt idx="773">
                  <c:v>45965</c:v>
                </c:pt>
                <c:pt idx="774">
                  <c:v>45972</c:v>
                </c:pt>
                <c:pt idx="775">
                  <c:v>45979</c:v>
                </c:pt>
                <c:pt idx="776">
                  <c:v>45986</c:v>
                </c:pt>
                <c:pt idx="777">
                  <c:v>45993</c:v>
                </c:pt>
                <c:pt idx="778">
                  <c:v>46000</c:v>
                </c:pt>
                <c:pt idx="779">
                  <c:v>46007</c:v>
                </c:pt>
                <c:pt idx="780">
                  <c:v>46014</c:v>
                </c:pt>
                <c:pt idx="781">
                  <c:v>46021</c:v>
                </c:pt>
                <c:pt idx="782">
                  <c:v>46028</c:v>
                </c:pt>
                <c:pt idx="783">
                  <c:v>46035</c:v>
                </c:pt>
                <c:pt idx="784">
                  <c:v>46042</c:v>
                </c:pt>
                <c:pt idx="785">
                  <c:v>46049</c:v>
                </c:pt>
                <c:pt idx="786">
                  <c:v>46056</c:v>
                </c:pt>
                <c:pt idx="787">
                  <c:v>46063</c:v>
                </c:pt>
                <c:pt idx="788">
                  <c:v>46070</c:v>
                </c:pt>
                <c:pt idx="789">
                  <c:v>46077</c:v>
                </c:pt>
              </c:numCache>
            </c:numRef>
          </c:cat>
          <c:val>
            <c:numRef>
              <c:f>'T5-8'!$D$160:$D$949</c:f>
              <c:numCache>
                <c:formatCode>0.00</c:formatCode>
                <c:ptCount val="790"/>
                <c:pt idx="0">
                  <c:v>11.238776441941866</c:v>
                </c:pt>
                <c:pt idx="1">
                  <c:v>11.238776441941866</c:v>
                </c:pt>
                <c:pt idx="2">
                  <c:v>11.238776441941866</c:v>
                </c:pt>
                <c:pt idx="3">
                  <c:v>12.559763223799036</c:v>
                </c:pt>
                <c:pt idx="4">
                  <c:v>12.559763223799036</c:v>
                </c:pt>
                <c:pt idx="5">
                  <c:v>12.559763223799036</c:v>
                </c:pt>
                <c:pt idx="6">
                  <c:v>12.559763223799036</c:v>
                </c:pt>
                <c:pt idx="7">
                  <c:v>14.143232095988022</c:v>
                </c:pt>
                <c:pt idx="8">
                  <c:v>14.143232095988022</c:v>
                </c:pt>
                <c:pt idx="9">
                  <c:v>14.143232095988022</c:v>
                </c:pt>
                <c:pt idx="10">
                  <c:v>14.143232095988022</c:v>
                </c:pt>
                <c:pt idx="11">
                  <c:v>14.143232095988022</c:v>
                </c:pt>
                <c:pt idx="12">
                  <c:v>14.697986577181222</c:v>
                </c:pt>
                <c:pt idx="13">
                  <c:v>14.697986577181222</c:v>
                </c:pt>
                <c:pt idx="14">
                  <c:v>14.697986577181222</c:v>
                </c:pt>
                <c:pt idx="15">
                  <c:v>14.697986577181222</c:v>
                </c:pt>
                <c:pt idx="16">
                  <c:v>13.4</c:v>
                </c:pt>
                <c:pt idx="17">
                  <c:v>13.4</c:v>
                </c:pt>
                <c:pt idx="18">
                  <c:v>13.4</c:v>
                </c:pt>
                <c:pt idx="19">
                  <c:v>13.4</c:v>
                </c:pt>
                <c:pt idx="20">
                  <c:v>13.4</c:v>
                </c:pt>
                <c:pt idx="21">
                  <c:v>12.648134601316773</c:v>
                </c:pt>
                <c:pt idx="22">
                  <c:v>12.648134601316773</c:v>
                </c:pt>
                <c:pt idx="23">
                  <c:v>12.648134601316773</c:v>
                </c:pt>
                <c:pt idx="24">
                  <c:v>12.648134601316773</c:v>
                </c:pt>
                <c:pt idx="25">
                  <c:v>12.10568689160505</c:v>
                </c:pt>
                <c:pt idx="26">
                  <c:v>12.10568689160505</c:v>
                </c:pt>
                <c:pt idx="27">
                  <c:v>12.10568689160505</c:v>
                </c:pt>
                <c:pt idx="28">
                  <c:v>12.10568689160505</c:v>
                </c:pt>
                <c:pt idx="29">
                  <c:v>10.51833670228126</c:v>
                </c:pt>
                <c:pt idx="30">
                  <c:v>10.51833670228126</c:v>
                </c:pt>
                <c:pt idx="31">
                  <c:v>10.51833670228126</c:v>
                </c:pt>
                <c:pt idx="32">
                  <c:v>10.51833670228126</c:v>
                </c:pt>
                <c:pt idx="33">
                  <c:v>10.51833670228126</c:v>
                </c:pt>
                <c:pt idx="34">
                  <c:v>9.2956943256344395</c:v>
                </c:pt>
                <c:pt idx="35">
                  <c:v>9.2956943256344395</c:v>
                </c:pt>
                <c:pt idx="36">
                  <c:v>9.2956943256344395</c:v>
                </c:pt>
                <c:pt idx="37">
                  <c:v>9.2956943256344395</c:v>
                </c:pt>
                <c:pt idx="38">
                  <c:v>8.6904341687257247</c:v>
                </c:pt>
                <c:pt idx="39">
                  <c:v>8.6904341687257247</c:v>
                </c:pt>
                <c:pt idx="40">
                  <c:v>8.6904341687257247</c:v>
                </c:pt>
                <c:pt idx="41">
                  <c:v>8.6904341687257247</c:v>
                </c:pt>
                <c:pt idx="42">
                  <c:v>8.0481357818586794</c:v>
                </c:pt>
                <c:pt idx="43">
                  <c:v>8.0481357818586794</c:v>
                </c:pt>
                <c:pt idx="44">
                  <c:v>8.0481357818586794</c:v>
                </c:pt>
                <c:pt idx="45">
                  <c:v>8.0481357818586794</c:v>
                </c:pt>
                <c:pt idx="46">
                  <c:v>8.0481357818586794</c:v>
                </c:pt>
                <c:pt idx="47">
                  <c:v>6.9759378683863726</c:v>
                </c:pt>
                <c:pt idx="48">
                  <c:v>6.9759378683863726</c:v>
                </c:pt>
                <c:pt idx="49">
                  <c:v>6.9759378683863726</c:v>
                </c:pt>
                <c:pt idx="50">
                  <c:v>6.9759378683863726</c:v>
                </c:pt>
                <c:pt idx="51">
                  <c:v>5.6296600314658996</c:v>
                </c:pt>
                <c:pt idx="52">
                  <c:v>5.6296600314658996</c:v>
                </c:pt>
                <c:pt idx="53">
                  <c:v>5.6296600314658996</c:v>
                </c:pt>
                <c:pt idx="54">
                  <c:v>5.6296600314658996</c:v>
                </c:pt>
                <c:pt idx="55">
                  <c:v>5.6296600314658996</c:v>
                </c:pt>
                <c:pt idx="56">
                  <c:v>4.9757281553397981</c:v>
                </c:pt>
                <c:pt idx="57">
                  <c:v>4.9757281553397981</c:v>
                </c:pt>
                <c:pt idx="58">
                  <c:v>4.9757281553397981</c:v>
                </c:pt>
                <c:pt idx="59">
                  <c:v>4.9757281553397981</c:v>
                </c:pt>
                <c:pt idx="60">
                  <c:v>3.4163326982458386</c:v>
                </c:pt>
                <c:pt idx="61">
                  <c:v>3.4163326982458386</c:v>
                </c:pt>
                <c:pt idx="62">
                  <c:v>3.4163326982458386</c:v>
                </c:pt>
                <c:pt idx="63">
                  <c:v>3.4163326982458386</c:v>
                </c:pt>
                <c:pt idx="64">
                  <c:v>2.74</c:v>
                </c:pt>
                <c:pt idx="65">
                  <c:v>2.74</c:v>
                </c:pt>
                <c:pt idx="66">
                  <c:v>2.74</c:v>
                </c:pt>
                <c:pt idx="67">
                  <c:v>2.74</c:v>
                </c:pt>
                <c:pt idx="68">
                  <c:v>3.9704644083166096</c:v>
                </c:pt>
                <c:pt idx="69">
                  <c:v>3.9704644083166096</c:v>
                </c:pt>
                <c:pt idx="70">
                  <c:v>3.9704644083166096</c:v>
                </c:pt>
                <c:pt idx="71">
                  <c:v>3.9704644083166096</c:v>
                </c:pt>
                <c:pt idx="72">
                  <c:v>3.9704644083166096</c:v>
                </c:pt>
                <c:pt idx="73">
                  <c:v>5.5</c:v>
                </c:pt>
                <c:pt idx="74">
                  <c:v>5.5</c:v>
                </c:pt>
                <c:pt idx="75">
                  <c:v>5.5</c:v>
                </c:pt>
                <c:pt idx="76">
                  <c:v>5.5</c:v>
                </c:pt>
                <c:pt idx="77">
                  <c:v>6.1565580727296565</c:v>
                </c:pt>
                <c:pt idx="78">
                  <c:v>6.1565580727296565</c:v>
                </c:pt>
                <c:pt idx="79">
                  <c:v>6.1565580727296565</c:v>
                </c:pt>
                <c:pt idx="80">
                  <c:v>6.1565580727296565</c:v>
                </c:pt>
                <c:pt idx="81">
                  <c:v>6.1565580727296565</c:v>
                </c:pt>
                <c:pt idx="82">
                  <c:v>7.93</c:v>
                </c:pt>
                <c:pt idx="83">
                  <c:v>7.93</c:v>
                </c:pt>
                <c:pt idx="84">
                  <c:v>7.93</c:v>
                </c:pt>
                <c:pt idx="85">
                  <c:v>7.93</c:v>
                </c:pt>
                <c:pt idx="86" formatCode="General">
                  <c:v>10.3</c:v>
                </c:pt>
                <c:pt idx="87" formatCode="General">
                  <c:v>10.3</c:v>
                </c:pt>
                <c:pt idx="88" formatCode="General">
                  <c:v>10.3</c:v>
                </c:pt>
                <c:pt idx="89" formatCode="General">
                  <c:v>10.3</c:v>
                </c:pt>
                <c:pt idx="90" formatCode="General">
                  <c:v>12.9</c:v>
                </c:pt>
                <c:pt idx="91" formatCode="General">
                  <c:v>12.9</c:v>
                </c:pt>
                <c:pt idx="92" formatCode="General">
                  <c:v>12.9</c:v>
                </c:pt>
                <c:pt idx="93" formatCode="General">
                  <c:v>12.9</c:v>
                </c:pt>
                <c:pt idx="94" formatCode="General">
                  <c:v>12.9</c:v>
                </c:pt>
                <c:pt idx="95" formatCode="General">
                  <c:v>11.9</c:v>
                </c:pt>
                <c:pt idx="96" formatCode="General">
                  <c:v>11.9</c:v>
                </c:pt>
                <c:pt idx="97" formatCode="General">
                  <c:v>11.9</c:v>
                </c:pt>
                <c:pt idx="98" formatCode="General">
                  <c:v>11.9</c:v>
                </c:pt>
                <c:pt idx="99" formatCode="General">
                  <c:v>12.2</c:v>
                </c:pt>
                <c:pt idx="100" formatCode="General">
                  <c:v>12.2</c:v>
                </c:pt>
                <c:pt idx="101" formatCode="General">
                  <c:v>12.2</c:v>
                </c:pt>
                <c:pt idx="102" formatCode="General">
                  <c:v>12.2</c:v>
                </c:pt>
                <c:pt idx="103" formatCode="General">
                  <c:v>12.7</c:v>
                </c:pt>
                <c:pt idx="104" formatCode="General">
                  <c:v>12.7</c:v>
                </c:pt>
                <c:pt idx="105" formatCode="General">
                  <c:v>12.7</c:v>
                </c:pt>
                <c:pt idx="106" formatCode="General">
                  <c:v>12.7</c:v>
                </c:pt>
                <c:pt idx="107" formatCode="General">
                  <c:v>12.7</c:v>
                </c:pt>
                <c:pt idx="108" formatCode="General">
                  <c:v>12.5</c:v>
                </c:pt>
                <c:pt idx="109" formatCode="General">
                  <c:v>12.5</c:v>
                </c:pt>
                <c:pt idx="110" formatCode="General">
                  <c:v>12.5</c:v>
                </c:pt>
                <c:pt idx="111" formatCode="General">
                  <c:v>12.5</c:v>
                </c:pt>
                <c:pt idx="112" formatCode="General">
                  <c:v>11.2</c:v>
                </c:pt>
                <c:pt idx="113" formatCode="General">
                  <c:v>11.2</c:v>
                </c:pt>
                <c:pt idx="114" formatCode="General">
                  <c:v>11.2</c:v>
                </c:pt>
                <c:pt idx="115" formatCode="General">
                  <c:v>11.2</c:v>
                </c:pt>
                <c:pt idx="116" formatCode="General">
                  <c:v>11.5</c:v>
                </c:pt>
                <c:pt idx="117" formatCode="General">
                  <c:v>11.5</c:v>
                </c:pt>
                <c:pt idx="118" formatCode="General">
                  <c:v>11.5</c:v>
                </c:pt>
                <c:pt idx="119" formatCode="General">
                  <c:v>11.5</c:v>
                </c:pt>
                <c:pt idx="120" formatCode="General">
                  <c:v>11.5</c:v>
                </c:pt>
                <c:pt idx="121" formatCode="General">
                  <c:v>10</c:v>
                </c:pt>
                <c:pt idx="122" formatCode="General">
                  <c:v>10</c:v>
                </c:pt>
                <c:pt idx="123" formatCode="General">
                  <c:v>10</c:v>
                </c:pt>
                <c:pt idx="124" formatCode="General">
                  <c:v>10</c:v>
                </c:pt>
                <c:pt idx="125" formatCode="General">
                  <c:v>9.6999999999999993</c:v>
                </c:pt>
                <c:pt idx="126" formatCode="General">
                  <c:v>9.6999999999999993</c:v>
                </c:pt>
                <c:pt idx="127" formatCode="General">
                  <c:v>9.6999999999999993</c:v>
                </c:pt>
                <c:pt idx="128" formatCode="General">
                  <c:v>9.6999999999999993</c:v>
                </c:pt>
                <c:pt idx="129" formatCode="General">
                  <c:v>8.6</c:v>
                </c:pt>
                <c:pt idx="130" formatCode="General">
                  <c:v>8.6</c:v>
                </c:pt>
                <c:pt idx="131" formatCode="General">
                  <c:v>8.6</c:v>
                </c:pt>
                <c:pt idx="132" formatCode="General">
                  <c:v>8.6</c:v>
                </c:pt>
                <c:pt idx="133" formatCode="General">
                  <c:v>8.6</c:v>
                </c:pt>
                <c:pt idx="134" formatCode="General">
                  <c:v>7.3</c:v>
                </c:pt>
                <c:pt idx="135" formatCode="General">
                  <c:v>7.3</c:v>
                </c:pt>
                <c:pt idx="136" formatCode="General">
                  <c:v>7.3</c:v>
                </c:pt>
                <c:pt idx="137" formatCode="General">
                  <c:v>7.3</c:v>
                </c:pt>
                <c:pt idx="138" formatCode="General">
                  <c:v>4.8</c:v>
                </c:pt>
                <c:pt idx="139" formatCode="General">
                  <c:v>4.8</c:v>
                </c:pt>
                <c:pt idx="140" formatCode="General">
                  <c:v>4.8</c:v>
                </c:pt>
                <c:pt idx="141" formatCode="General">
                  <c:v>4.8</c:v>
                </c:pt>
                <c:pt idx="142" formatCode="General">
                  <c:v>2.2000000000000002</c:v>
                </c:pt>
                <c:pt idx="143" formatCode="General">
                  <c:v>2.2000000000000002</c:v>
                </c:pt>
                <c:pt idx="144" formatCode="General">
                  <c:v>2.2000000000000002</c:v>
                </c:pt>
                <c:pt idx="145" formatCode="General">
                  <c:v>2.2000000000000002</c:v>
                </c:pt>
                <c:pt idx="146" formatCode="General">
                  <c:v>2.2000000000000002</c:v>
                </c:pt>
                <c:pt idx="147" formatCode="General">
                  <c:v>1.6</c:v>
                </c:pt>
                <c:pt idx="148" formatCode="General">
                  <c:v>1.6</c:v>
                </c:pt>
                <c:pt idx="149" formatCode="General">
                  <c:v>1.6</c:v>
                </c:pt>
                <c:pt idx="150" formatCode="General">
                  <c:v>1.6</c:v>
                </c:pt>
                <c:pt idx="151" formatCode="General">
                  <c:v>2.2000000000000002</c:v>
                </c:pt>
                <c:pt idx="152" formatCode="General">
                  <c:v>2.2000000000000002</c:v>
                </c:pt>
                <c:pt idx="153" formatCode="General">
                  <c:v>2.2000000000000002</c:v>
                </c:pt>
                <c:pt idx="154" formatCode="General">
                  <c:v>2.2000000000000002</c:v>
                </c:pt>
                <c:pt idx="155" formatCode="General">
                  <c:v>2.2000000000000002</c:v>
                </c:pt>
                <c:pt idx="156" formatCode="General">
                  <c:v>3.1</c:v>
                </c:pt>
                <c:pt idx="157" formatCode="General">
                  <c:v>3.1</c:v>
                </c:pt>
                <c:pt idx="158" formatCode="General">
                  <c:v>3.1</c:v>
                </c:pt>
                <c:pt idx="159" formatCode="General">
                  <c:v>3.1</c:v>
                </c:pt>
                <c:pt idx="160" formatCode="General">
                  <c:v>2.6</c:v>
                </c:pt>
                <c:pt idx="161" formatCode="General">
                  <c:v>2.6</c:v>
                </c:pt>
                <c:pt idx="162" formatCode="General">
                  <c:v>2.6</c:v>
                </c:pt>
                <c:pt idx="163" formatCode="General">
                  <c:v>2.6</c:v>
                </c:pt>
                <c:pt idx="164" formatCode="General">
                  <c:v>2.2999999999999998</c:v>
                </c:pt>
                <c:pt idx="165" formatCode="General">
                  <c:v>2.2999999999999998</c:v>
                </c:pt>
                <c:pt idx="166" formatCode="General">
                  <c:v>2.2999999999999998</c:v>
                </c:pt>
                <c:pt idx="167" formatCode="General">
                  <c:v>2.2999999999999998</c:v>
                </c:pt>
                <c:pt idx="168" formatCode="0.0">
                  <c:v>2</c:v>
                </c:pt>
                <c:pt idx="169" formatCode="0.0">
                  <c:v>2</c:v>
                </c:pt>
                <c:pt idx="170" formatCode="0.0">
                  <c:v>2</c:v>
                </c:pt>
                <c:pt idx="171" formatCode="0.0">
                  <c:v>2</c:v>
                </c:pt>
                <c:pt idx="172" formatCode="0.0">
                  <c:v>2</c:v>
                </c:pt>
                <c:pt idx="173" formatCode="0.0">
                  <c:v>2.1</c:v>
                </c:pt>
                <c:pt idx="174" formatCode="0.0">
                  <c:v>2.1</c:v>
                </c:pt>
                <c:pt idx="175" formatCode="0.0">
                  <c:v>2.1</c:v>
                </c:pt>
                <c:pt idx="176" formatCode="0.0">
                  <c:v>2.1</c:v>
                </c:pt>
                <c:pt idx="177" formatCode="0.0">
                  <c:v>1.2</c:v>
                </c:pt>
                <c:pt idx="178" formatCode="0.0">
                  <c:v>1.2</c:v>
                </c:pt>
                <c:pt idx="179" formatCode="0.0">
                  <c:v>1.2</c:v>
                </c:pt>
                <c:pt idx="180" formatCode="0.0">
                  <c:v>1.2</c:v>
                </c:pt>
                <c:pt idx="181" formatCode="0.0">
                  <c:v>2</c:v>
                </c:pt>
                <c:pt idx="182" formatCode="0.0">
                  <c:v>2</c:v>
                </c:pt>
                <c:pt idx="183" formatCode="0.0">
                  <c:v>2</c:v>
                </c:pt>
                <c:pt idx="184" formatCode="0.0">
                  <c:v>2</c:v>
                </c:pt>
                <c:pt idx="185" formatCode="0.0">
                  <c:v>2</c:v>
                </c:pt>
                <c:pt idx="186" formatCode="0.0">
                  <c:v>1.5</c:v>
                </c:pt>
                <c:pt idx="187" formatCode="0.0">
                  <c:v>1.5</c:v>
                </c:pt>
                <c:pt idx="188" formatCode="0.0">
                  <c:v>1.5</c:v>
                </c:pt>
                <c:pt idx="189" formatCode="0.0">
                  <c:v>1.5</c:v>
                </c:pt>
                <c:pt idx="190" formatCode="0.0">
                  <c:v>2.1</c:v>
                </c:pt>
                <c:pt idx="191" formatCode="0.0">
                  <c:v>2.1</c:v>
                </c:pt>
                <c:pt idx="192" formatCode="0.0">
                  <c:v>2.1</c:v>
                </c:pt>
                <c:pt idx="193" formatCode="0.0">
                  <c:v>2.1</c:v>
                </c:pt>
                <c:pt idx="194" formatCode="0.0">
                  <c:v>2.1</c:v>
                </c:pt>
                <c:pt idx="195" formatCode="0.0">
                  <c:v>1.8</c:v>
                </c:pt>
                <c:pt idx="196" formatCode="0.0">
                  <c:v>1.8</c:v>
                </c:pt>
                <c:pt idx="197" formatCode="0.0">
                  <c:v>1.8</c:v>
                </c:pt>
                <c:pt idx="198" formatCode="0.0">
                  <c:v>1.8</c:v>
                </c:pt>
                <c:pt idx="199" formatCode="0.0">
                  <c:v>2.4</c:v>
                </c:pt>
                <c:pt idx="200" formatCode="0.0">
                  <c:v>2.4</c:v>
                </c:pt>
                <c:pt idx="201" formatCode="0.0">
                  <c:v>2.4</c:v>
                </c:pt>
                <c:pt idx="202" formatCode="0.0">
                  <c:v>2.4</c:v>
                </c:pt>
                <c:pt idx="203" formatCode="0.0">
                  <c:v>1.8</c:v>
                </c:pt>
                <c:pt idx="204" formatCode="0.0">
                  <c:v>1.8</c:v>
                </c:pt>
                <c:pt idx="205" formatCode="0.0">
                  <c:v>1.8</c:v>
                </c:pt>
                <c:pt idx="206" formatCode="0.0">
                  <c:v>1.8</c:v>
                </c:pt>
                <c:pt idx="207" formatCode="0.0">
                  <c:v>1.8</c:v>
                </c:pt>
                <c:pt idx="208" formatCode="0.0">
                  <c:v>0.1</c:v>
                </c:pt>
                <c:pt idx="209" formatCode="0.0">
                  <c:v>0.1</c:v>
                </c:pt>
                <c:pt idx="210" formatCode="0.0">
                  <c:v>0.1</c:v>
                </c:pt>
                <c:pt idx="211" formatCode="0.0">
                  <c:v>0.1</c:v>
                </c:pt>
                <c:pt idx="212" formatCode="0.0">
                  <c:v>0.8</c:v>
                </c:pt>
                <c:pt idx="213" formatCode="0.0">
                  <c:v>0.8</c:v>
                </c:pt>
                <c:pt idx="214" formatCode="0.0">
                  <c:v>0.8</c:v>
                </c:pt>
                <c:pt idx="215" formatCode="0.0">
                  <c:v>0.8</c:v>
                </c:pt>
                <c:pt idx="216" formatCode="0.0">
                  <c:v>1.8</c:v>
                </c:pt>
                <c:pt idx="217" formatCode="0.0">
                  <c:v>1.8</c:v>
                </c:pt>
                <c:pt idx="218" formatCode="0.0">
                  <c:v>1.8</c:v>
                </c:pt>
                <c:pt idx="219" formatCode="0.0">
                  <c:v>1.8</c:v>
                </c:pt>
                <c:pt idx="220" formatCode="0.0">
                  <c:v>1.8</c:v>
                </c:pt>
                <c:pt idx="221" formatCode="0.0">
                  <c:v>1.8</c:v>
                </c:pt>
                <c:pt idx="222" formatCode="0.0">
                  <c:v>1.8</c:v>
                </c:pt>
                <c:pt idx="223" formatCode="0.0">
                  <c:v>1.8</c:v>
                </c:pt>
                <c:pt idx="224" formatCode="0.0">
                  <c:v>1.8</c:v>
                </c:pt>
                <c:pt idx="225" formatCode="0.0">
                  <c:v>1.498335183129873</c:v>
                </c:pt>
                <c:pt idx="226" formatCode="0.0">
                  <c:v>1.498335183129873</c:v>
                </c:pt>
                <c:pt idx="227" formatCode="0.0">
                  <c:v>1.498335183129873</c:v>
                </c:pt>
                <c:pt idx="228" formatCode="0.0">
                  <c:v>1.498335183129873</c:v>
                </c:pt>
                <c:pt idx="229" formatCode="0.0">
                  <c:v>1.8847006651884657</c:v>
                </c:pt>
                <c:pt idx="230" formatCode="0.0">
                  <c:v>1.8847006651884657</c:v>
                </c:pt>
                <c:pt idx="231" formatCode="0.0">
                  <c:v>1.8847006651884657</c:v>
                </c:pt>
                <c:pt idx="232" formatCode="0.0">
                  <c:v>1.8847006651884657</c:v>
                </c:pt>
                <c:pt idx="233" formatCode="0.0">
                  <c:v>1.8847006651884657</c:v>
                </c:pt>
                <c:pt idx="234" formatCode="0.0">
                  <c:v>1.0543840177580588</c:v>
                </c:pt>
                <c:pt idx="235" formatCode="0.0">
                  <c:v>1.0543840177580588</c:v>
                </c:pt>
                <c:pt idx="236" formatCode="0.0">
                  <c:v>1.0543840177580588</c:v>
                </c:pt>
                <c:pt idx="237" formatCode="0.0">
                  <c:v>1.0543840177580588</c:v>
                </c:pt>
                <c:pt idx="238" formatCode="0.0">
                  <c:v>2.1122846025569686</c:v>
                </c:pt>
                <c:pt idx="239" formatCode="0.0">
                  <c:v>2.1122846025569686</c:v>
                </c:pt>
                <c:pt idx="240" formatCode="0.0">
                  <c:v>2.1122846025569686</c:v>
                </c:pt>
                <c:pt idx="241" formatCode="0.0">
                  <c:v>2.1122846025569686</c:v>
                </c:pt>
                <c:pt idx="242" formatCode="0.0">
                  <c:v>1.4356709000552081</c:v>
                </c:pt>
                <c:pt idx="243" formatCode="0.0">
                  <c:v>1.4356709000552081</c:v>
                </c:pt>
                <c:pt idx="244" formatCode="0.0">
                  <c:v>1.4356709000552081</c:v>
                </c:pt>
                <c:pt idx="245" formatCode="0.0">
                  <c:v>1.4356709000552081</c:v>
                </c:pt>
                <c:pt idx="246" formatCode="0.0">
                  <c:v>1.4356709000552081</c:v>
                </c:pt>
                <c:pt idx="247" formatCode="0.0">
                  <c:v>1.3827433628318619</c:v>
                </c:pt>
                <c:pt idx="248" formatCode="0.0">
                  <c:v>1.3827433628318619</c:v>
                </c:pt>
                <c:pt idx="249" formatCode="0.0">
                  <c:v>1.3827433628318619</c:v>
                </c:pt>
                <c:pt idx="250" formatCode="0.0">
                  <c:v>1.3827433628318619</c:v>
                </c:pt>
                <c:pt idx="251" formatCode="0.0">
                  <c:v>1.2721238938053103</c:v>
                </c:pt>
                <c:pt idx="252" formatCode="0.0">
                  <c:v>1.2721238938053103</c:v>
                </c:pt>
                <c:pt idx="253" formatCode="0.0">
                  <c:v>1.2721238938053103</c:v>
                </c:pt>
                <c:pt idx="254" formatCode="0.0">
                  <c:v>1.2721238938053103</c:v>
                </c:pt>
                <c:pt idx="255" formatCode="0.0">
                  <c:v>1.5555555555555545</c:v>
                </c:pt>
                <c:pt idx="256" formatCode="0.0">
                  <c:v>1.5555555555555545</c:v>
                </c:pt>
                <c:pt idx="257" formatCode="0.0">
                  <c:v>1.5555555555555545</c:v>
                </c:pt>
                <c:pt idx="258" formatCode="0.0">
                  <c:v>1.5555555555555545</c:v>
                </c:pt>
                <c:pt idx="259" formatCode="0.0">
                  <c:v>1.5555555555555545</c:v>
                </c:pt>
                <c:pt idx="260" formatCode="0.0">
                  <c:v>2.3385300668151476</c:v>
                </c:pt>
                <c:pt idx="261" formatCode="0.0">
                  <c:v>2.3385300668151476</c:v>
                </c:pt>
                <c:pt idx="262" formatCode="0.0">
                  <c:v>2.3385300668151476</c:v>
                </c:pt>
                <c:pt idx="263" formatCode="0.0">
                  <c:v>2.3385300668151476</c:v>
                </c:pt>
                <c:pt idx="264" formatCode="0.0">
                  <c:v>1.4356709000552081</c:v>
                </c:pt>
                <c:pt idx="265" formatCode="0.0">
                  <c:v>1.4356709000552081</c:v>
                </c:pt>
                <c:pt idx="266" formatCode="0.0">
                  <c:v>1.4356709000552081</c:v>
                </c:pt>
                <c:pt idx="267" formatCode="0.0">
                  <c:v>1.4356709000552081</c:v>
                </c:pt>
                <c:pt idx="268" formatCode="0.0">
                  <c:v>0.60307017543859143</c:v>
                </c:pt>
                <c:pt idx="269" formatCode="0.0">
                  <c:v>0.60307017543859143</c:v>
                </c:pt>
                <c:pt idx="270" formatCode="0.0">
                  <c:v>0.60307017543859143</c:v>
                </c:pt>
                <c:pt idx="271" formatCode="0.0">
                  <c:v>0.60307017543859143</c:v>
                </c:pt>
                <c:pt idx="272" formatCode="0.0">
                  <c:v>0.60307017543859143</c:v>
                </c:pt>
                <c:pt idx="273" formatCode="0.0">
                  <c:v>0.4362050163576825</c:v>
                </c:pt>
                <c:pt idx="274" formatCode="0.0">
                  <c:v>0.4362050163576825</c:v>
                </c:pt>
                <c:pt idx="275" formatCode="0.0">
                  <c:v>0.4362050163576825</c:v>
                </c:pt>
                <c:pt idx="276" formatCode="0.0">
                  <c:v>0.4362050163576825</c:v>
                </c:pt>
                <c:pt idx="277" formatCode="0.0">
                  <c:v>0.76544559868780837</c:v>
                </c:pt>
                <c:pt idx="278" formatCode="0.0">
                  <c:v>0.76544559868780837</c:v>
                </c:pt>
                <c:pt idx="279" formatCode="0.0">
                  <c:v>0.76544559868780837</c:v>
                </c:pt>
                <c:pt idx="280" formatCode="0.0">
                  <c:v>0.76544559868780837</c:v>
                </c:pt>
                <c:pt idx="281" formatCode="0.0">
                  <c:v>0.76544559868780837</c:v>
                </c:pt>
                <c:pt idx="282" formatCode="0.0">
                  <c:v>0.32644178454841466</c:v>
                </c:pt>
                <c:pt idx="283" formatCode="0.0">
                  <c:v>0.32644178454841466</c:v>
                </c:pt>
                <c:pt idx="284" formatCode="0.0">
                  <c:v>0.32644178454841466</c:v>
                </c:pt>
                <c:pt idx="285" formatCode="0.0">
                  <c:v>0.32644178454841466</c:v>
                </c:pt>
                <c:pt idx="286" formatCode="0.0">
                  <c:v>1.2081274025260935</c:v>
                </c:pt>
                <c:pt idx="287" formatCode="0.0">
                  <c:v>1.2081274025260935</c:v>
                </c:pt>
                <c:pt idx="288" formatCode="0.0">
                  <c:v>1.2081274025260935</c:v>
                </c:pt>
                <c:pt idx="289" formatCode="0.0">
                  <c:v>1.2081274025260935</c:v>
                </c:pt>
                <c:pt idx="290" formatCode="0.0">
                  <c:v>1.1976047904191711</c:v>
                </c:pt>
                <c:pt idx="291" formatCode="0.0">
                  <c:v>1.1976047904191711</c:v>
                </c:pt>
                <c:pt idx="292" formatCode="0.0">
                  <c:v>1.1976047904191711</c:v>
                </c:pt>
                <c:pt idx="293" formatCode="0.0">
                  <c:v>1.1976047904191711</c:v>
                </c:pt>
                <c:pt idx="294" formatCode="0.0">
                  <c:v>1.1976047904191711</c:v>
                </c:pt>
                <c:pt idx="295" formatCode="0.0">
                  <c:v>0.59880239520959666</c:v>
                </c:pt>
                <c:pt idx="296" formatCode="0.0">
                  <c:v>0.59880239520959666</c:v>
                </c:pt>
                <c:pt idx="297" formatCode="0.0">
                  <c:v>0.59880239520959666</c:v>
                </c:pt>
                <c:pt idx="298" formatCode="0.0">
                  <c:v>0.59880239520959666</c:v>
                </c:pt>
                <c:pt idx="299" formatCode="0.0">
                  <c:v>1.5275504637206616</c:v>
                </c:pt>
                <c:pt idx="300" formatCode="0.0">
                  <c:v>1.5275504637206616</c:v>
                </c:pt>
                <c:pt idx="301" formatCode="0.0">
                  <c:v>1.5275504637206616</c:v>
                </c:pt>
                <c:pt idx="302" formatCode="0.0">
                  <c:v>1.5275504637206616</c:v>
                </c:pt>
                <c:pt idx="303" formatCode="0.0">
                  <c:v>1.5292190060076427</c:v>
                </c:pt>
                <c:pt idx="304" formatCode="0.0">
                  <c:v>1.5292190060076427</c:v>
                </c:pt>
                <c:pt idx="305" formatCode="0.0">
                  <c:v>1.5292190060076427</c:v>
                </c:pt>
                <c:pt idx="306" formatCode="0.0">
                  <c:v>1.5292190060076427</c:v>
                </c:pt>
                <c:pt idx="307" formatCode="0.0">
                  <c:v>1.5292190060076427</c:v>
                </c:pt>
                <c:pt idx="308" formatCode="0.0">
                  <c:v>1.5317286652078765</c:v>
                </c:pt>
                <c:pt idx="309" formatCode="0.0">
                  <c:v>1.5317286652078765</c:v>
                </c:pt>
                <c:pt idx="310" formatCode="0.0">
                  <c:v>1.5317286652078765</c:v>
                </c:pt>
                <c:pt idx="311" formatCode="0.0">
                  <c:v>1.5317286652078765</c:v>
                </c:pt>
                <c:pt idx="312" formatCode="0.0">
                  <c:v>2.4483133841131766</c:v>
                </c:pt>
                <c:pt idx="313" formatCode="0.0">
                  <c:v>2.4483133841131766</c:v>
                </c:pt>
                <c:pt idx="314" formatCode="0.0">
                  <c:v>2.4483133841131766</c:v>
                </c:pt>
                <c:pt idx="315" formatCode="0.0">
                  <c:v>2.4483133841131766</c:v>
                </c:pt>
                <c:pt idx="316" formatCode="0.0">
                  <c:v>2.4483133841131766</c:v>
                </c:pt>
                <c:pt idx="317" formatCode="0.0">
                  <c:v>3.211758301578671</c:v>
                </c:pt>
                <c:pt idx="318" formatCode="0.0">
                  <c:v>3.211758301578671</c:v>
                </c:pt>
                <c:pt idx="319" formatCode="0.0">
                  <c:v>3.2117583015786701</c:v>
                </c:pt>
                <c:pt idx="320" formatCode="0.0">
                  <c:v>3.2117583015786701</c:v>
                </c:pt>
                <c:pt idx="321" formatCode="0.0">
                  <c:v>3.5422343324250649</c:v>
                </c:pt>
                <c:pt idx="322" formatCode="0.0">
                  <c:v>3.5422343324250649</c:v>
                </c:pt>
                <c:pt idx="323" formatCode="0.0">
                  <c:v>3.54223433242506</c:v>
                </c:pt>
                <c:pt idx="324" formatCode="0.0">
                  <c:v>3.54223433242506</c:v>
                </c:pt>
                <c:pt idx="325" formatCode="0.0">
                  <c:v>3.9630836047774176</c:v>
                </c:pt>
                <c:pt idx="326" formatCode="0.0">
                  <c:v>3.9630836047774176</c:v>
                </c:pt>
                <c:pt idx="327" formatCode="0.0">
                  <c:v>3.9630836047774198</c:v>
                </c:pt>
                <c:pt idx="328" formatCode="0.0">
                  <c:v>3.9630836047774198</c:v>
                </c:pt>
                <c:pt idx="329" formatCode="0.0">
                  <c:v>3.4183396635919516</c:v>
                </c:pt>
                <c:pt idx="330" formatCode="0.0">
                  <c:v>3.4183396635919516</c:v>
                </c:pt>
                <c:pt idx="331" formatCode="0.0">
                  <c:v>3.4183396635919499</c:v>
                </c:pt>
                <c:pt idx="332" formatCode="0.0">
                  <c:v>3.4183396635919499</c:v>
                </c:pt>
                <c:pt idx="333" formatCode="0.0">
                  <c:v>3.4183396635919499</c:v>
                </c:pt>
                <c:pt idx="334" formatCode="0.0">
                  <c:v>3.579175704989157</c:v>
                </c:pt>
                <c:pt idx="335" formatCode="0.0">
                  <c:v>3.579175704989157</c:v>
                </c:pt>
                <c:pt idx="336" formatCode="0.0">
                  <c:v>3.579175704989157</c:v>
                </c:pt>
                <c:pt idx="337" formatCode="0.0">
                  <c:v>3.579175704989157</c:v>
                </c:pt>
                <c:pt idx="338" formatCode="0.0">
                  <c:v>3.2013022246337286</c:v>
                </c:pt>
                <c:pt idx="339" formatCode="0.0">
                  <c:v>3.2013022246337286</c:v>
                </c:pt>
                <c:pt idx="340" formatCode="0.0">
                  <c:v>3.2013022246337286</c:v>
                </c:pt>
                <c:pt idx="341" formatCode="0.0">
                  <c:v>3.2013022246337286</c:v>
                </c:pt>
                <c:pt idx="342" formatCode="0.0">
                  <c:v>2.5</c:v>
                </c:pt>
                <c:pt idx="343" formatCode="0.0">
                  <c:v>2.5</c:v>
                </c:pt>
                <c:pt idx="344" formatCode="0.0">
                  <c:v>2.5</c:v>
                </c:pt>
                <c:pt idx="345" formatCode="0.0">
                  <c:v>2.5</c:v>
                </c:pt>
                <c:pt idx="346" formatCode="0.0">
                  <c:v>2.5</c:v>
                </c:pt>
                <c:pt idx="347" formatCode="0.0">
                  <c:v>3.1926406926406692</c:v>
                </c:pt>
                <c:pt idx="348" formatCode="0.0">
                  <c:v>3.1926406926406692</c:v>
                </c:pt>
                <c:pt idx="349" formatCode="0.0">
                  <c:v>3.1926406926406692</c:v>
                </c:pt>
                <c:pt idx="350" formatCode="0.0">
                  <c:v>3.1926406926406692</c:v>
                </c:pt>
                <c:pt idx="351" formatCode="0.0">
                  <c:v>2.7404621171413179</c:v>
                </c:pt>
                <c:pt idx="352" formatCode="0.0">
                  <c:v>2.7404621171413179</c:v>
                </c:pt>
                <c:pt idx="353" formatCode="0.0">
                  <c:v>2.7404621171413179</c:v>
                </c:pt>
                <c:pt idx="354" formatCode="0.0">
                  <c:v>2.7404621171413179</c:v>
                </c:pt>
                <c:pt idx="355" formatCode="0.0">
                  <c:v>2.7404621171413179</c:v>
                </c:pt>
                <c:pt idx="356" formatCode="0.0">
                  <c:v>2.7972027972027913</c:v>
                </c:pt>
                <c:pt idx="357" formatCode="0.0">
                  <c:v>2.7972027972027913</c:v>
                </c:pt>
                <c:pt idx="358" formatCode="0.0">
                  <c:v>2.7972027972027913</c:v>
                </c:pt>
                <c:pt idx="359" formatCode="0.0">
                  <c:v>2.7972027972027913</c:v>
                </c:pt>
                <c:pt idx="360" formatCode="0.0">
                  <c:v>3.0172413793103425</c:v>
                </c:pt>
                <c:pt idx="361" formatCode="0.0">
                  <c:v>3.0172413793103425</c:v>
                </c:pt>
                <c:pt idx="362" formatCode="0.0">
                  <c:v>3.0172413793103425</c:v>
                </c:pt>
                <c:pt idx="363" formatCode="0.0">
                  <c:v>3.0172413793103425</c:v>
                </c:pt>
                <c:pt idx="364" formatCode="0.0">
                  <c:v>1.8587360594795488</c:v>
                </c:pt>
                <c:pt idx="365" formatCode="0.0">
                  <c:v>1.8587360594795488</c:v>
                </c:pt>
                <c:pt idx="366" formatCode="0.0">
                  <c:v>1.8587360594795488</c:v>
                </c:pt>
                <c:pt idx="367" formatCode="0.0">
                  <c:v>1.8587360594795488</c:v>
                </c:pt>
                <c:pt idx="368" formatCode="0.0">
                  <c:v>1.8587360594795488</c:v>
                </c:pt>
                <c:pt idx="369" formatCode="General">
                  <c:v>1.5</c:v>
                </c:pt>
                <c:pt idx="370" formatCode="General">
                  <c:v>1.5</c:v>
                </c:pt>
                <c:pt idx="371" formatCode="General">
                  <c:v>1.5</c:v>
                </c:pt>
                <c:pt idx="372" formatCode="General">
                  <c:v>1.5</c:v>
                </c:pt>
                <c:pt idx="373" formatCode="General">
                  <c:v>1.4</c:v>
                </c:pt>
                <c:pt idx="374" formatCode="General">
                  <c:v>1.4</c:v>
                </c:pt>
                <c:pt idx="375" formatCode="General">
                  <c:v>1.4</c:v>
                </c:pt>
                <c:pt idx="376" formatCode="General">
                  <c:v>1.4</c:v>
                </c:pt>
                <c:pt idx="377" formatCode="General">
                  <c:v>1</c:v>
                </c:pt>
                <c:pt idx="378" formatCode="General">
                  <c:v>1</c:v>
                </c:pt>
                <c:pt idx="379" formatCode="General">
                  <c:v>1</c:v>
                </c:pt>
                <c:pt idx="380" formatCode="General">
                  <c:v>1</c:v>
                </c:pt>
                <c:pt idx="381" formatCode="General">
                  <c:v>2.2000000000000002</c:v>
                </c:pt>
                <c:pt idx="382" formatCode="General">
                  <c:v>2.2000000000000002</c:v>
                </c:pt>
                <c:pt idx="383" formatCode="General">
                  <c:v>2.2000000000000002</c:v>
                </c:pt>
                <c:pt idx="384" formatCode="General">
                  <c:v>2.2000000000000002</c:v>
                </c:pt>
                <c:pt idx="385" formatCode="General">
                  <c:v>2.2000000000000002</c:v>
                </c:pt>
                <c:pt idx="386" formatCode="General">
                  <c:v>2.2999999999999998</c:v>
                </c:pt>
                <c:pt idx="387" formatCode="General">
                  <c:v>2.2999999999999998</c:v>
                </c:pt>
                <c:pt idx="388" formatCode="General">
                  <c:v>2.2999999999999998</c:v>
                </c:pt>
                <c:pt idx="389" formatCode="General">
                  <c:v>2.2999999999999998</c:v>
                </c:pt>
                <c:pt idx="390" formatCode="General">
                  <c:v>2.4</c:v>
                </c:pt>
                <c:pt idx="391" formatCode="General">
                  <c:v>2.4</c:v>
                </c:pt>
                <c:pt idx="392" formatCode="General">
                  <c:v>2.4</c:v>
                </c:pt>
                <c:pt idx="393" formatCode="General">
                  <c:v>2.4</c:v>
                </c:pt>
                <c:pt idx="394" formatCode="General">
                  <c:v>2.4</c:v>
                </c:pt>
                <c:pt idx="395" formatCode="General">
                  <c:v>2.6</c:v>
                </c:pt>
                <c:pt idx="396" formatCode="General">
                  <c:v>2.6</c:v>
                </c:pt>
                <c:pt idx="397" formatCode="General">
                  <c:v>2.6</c:v>
                </c:pt>
                <c:pt idx="398" formatCode="General">
                  <c:v>2.6</c:v>
                </c:pt>
                <c:pt idx="399" formatCode="0.0">
                  <c:v>2.1499737808075681</c:v>
                </c:pt>
                <c:pt idx="400" formatCode="0.0">
                  <c:v>2.1499737808075681</c:v>
                </c:pt>
                <c:pt idx="401" formatCode="0.0">
                  <c:v>2.1499737808075681</c:v>
                </c:pt>
                <c:pt idx="402" formatCode="0.0">
                  <c:v>2.1499737808075681</c:v>
                </c:pt>
                <c:pt idx="403" formatCode="0.0">
                  <c:v>2.1966527196652708</c:v>
                </c:pt>
                <c:pt idx="404" formatCode="0.0">
                  <c:v>2.1966527196652708</c:v>
                </c:pt>
                <c:pt idx="405" formatCode="0.0">
                  <c:v>2.1966527196652708</c:v>
                </c:pt>
                <c:pt idx="406" formatCode="0.0">
                  <c:v>2.1966527196652708</c:v>
                </c:pt>
                <c:pt idx="407" formatCode="0.0">
                  <c:v>2.1966527196652708</c:v>
                </c:pt>
                <c:pt idx="408" formatCode="General">
                  <c:v>1.9</c:v>
                </c:pt>
                <c:pt idx="409" formatCode="General">
                  <c:v>1.9</c:v>
                </c:pt>
                <c:pt idx="410" formatCode="General">
                  <c:v>1.9</c:v>
                </c:pt>
                <c:pt idx="411" formatCode="General">
                  <c:v>1.9</c:v>
                </c:pt>
                <c:pt idx="412" formatCode="0.0">
                  <c:v>1.9874476987447709</c:v>
                </c:pt>
                <c:pt idx="413" formatCode="0.0">
                  <c:v>1.9874476987447709</c:v>
                </c:pt>
                <c:pt idx="414" formatCode="0.0">
                  <c:v>1.9874476987447709</c:v>
                </c:pt>
                <c:pt idx="415" formatCode="0.0">
                  <c:v>1.9874476987447709</c:v>
                </c:pt>
                <c:pt idx="416" formatCode="0.0">
                  <c:v>2.0333680917622443</c:v>
                </c:pt>
                <c:pt idx="417" formatCode="0.0">
                  <c:v>2.0333680917622443</c:v>
                </c:pt>
                <c:pt idx="418" formatCode="0.0">
                  <c:v>2.0333680917622443</c:v>
                </c:pt>
                <c:pt idx="419" formatCode="0.0">
                  <c:v>2.0333680917622443</c:v>
                </c:pt>
                <c:pt idx="420" formatCode="0.0">
                  <c:v>2.0333680917622443</c:v>
                </c:pt>
                <c:pt idx="421" formatCode="General">
                  <c:v>2.4</c:v>
                </c:pt>
                <c:pt idx="422" formatCode="General">
                  <c:v>2.4</c:v>
                </c:pt>
                <c:pt idx="423" formatCode="General">
                  <c:v>2.4</c:v>
                </c:pt>
                <c:pt idx="424" formatCode="General">
                  <c:v>2.4</c:v>
                </c:pt>
                <c:pt idx="425" formatCode="General">
                  <c:v>2.8</c:v>
                </c:pt>
                <c:pt idx="426" formatCode="General">
                  <c:v>2.8</c:v>
                </c:pt>
                <c:pt idx="427" formatCode="General">
                  <c:v>2.8</c:v>
                </c:pt>
                <c:pt idx="428" formatCode="General">
                  <c:v>2.8</c:v>
                </c:pt>
                <c:pt idx="429" formatCode="General">
                  <c:v>3</c:v>
                </c:pt>
                <c:pt idx="430" formatCode="General">
                  <c:v>3</c:v>
                </c:pt>
                <c:pt idx="431" formatCode="General">
                  <c:v>3</c:v>
                </c:pt>
                <c:pt idx="432" formatCode="General">
                  <c:v>3</c:v>
                </c:pt>
                <c:pt idx="433" formatCode="General">
                  <c:v>3</c:v>
                </c:pt>
                <c:pt idx="434" formatCode="General">
                  <c:v>2.2000000000000002</c:v>
                </c:pt>
                <c:pt idx="435" formatCode="General">
                  <c:v>2.2000000000000002</c:v>
                </c:pt>
                <c:pt idx="436" formatCode="General">
                  <c:v>2.2000000000000002</c:v>
                </c:pt>
                <c:pt idx="437" formatCode="General">
                  <c:v>2.2000000000000002</c:v>
                </c:pt>
                <c:pt idx="438" formatCode="0.0">
                  <c:v>1.535312180143289</c:v>
                </c:pt>
                <c:pt idx="439" formatCode="0.0">
                  <c:v>1.535312180143289</c:v>
                </c:pt>
                <c:pt idx="440" formatCode="0.0">
                  <c:v>1.535312180143289</c:v>
                </c:pt>
                <c:pt idx="441" formatCode="0.0">
                  <c:v>1.535312180143289</c:v>
                </c:pt>
                <c:pt idx="442" formatCode="0.0">
                  <c:v>1.5913757700205311</c:v>
                </c:pt>
                <c:pt idx="443" formatCode="0.0">
                  <c:v>1.5913757700205311</c:v>
                </c:pt>
                <c:pt idx="444" formatCode="0.0">
                  <c:v>1.5913757700205311</c:v>
                </c:pt>
                <c:pt idx="445" formatCode="0.0">
                  <c:v>1.5913757700205311</c:v>
                </c:pt>
                <c:pt idx="446" formatCode="0.0">
                  <c:v>1.5913757700205311</c:v>
                </c:pt>
                <c:pt idx="447" formatCode="0.0">
                  <c:v>1.3</c:v>
                </c:pt>
                <c:pt idx="448" formatCode="0.0">
                  <c:v>1.3</c:v>
                </c:pt>
                <c:pt idx="449" formatCode="0.0">
                  <c:v>1.3</c:v>
                </c:pt>
                <c:pt idx="450" formatCode="0.0">
                  <c:v>1.3</c:v>
                </c:pt>
                <c:pt idx="451" formatCode="0.0">
                  <c:v>1.1293634496919891</c:v>
                </c:pt>
                <c:pt idx="452" formatCode="0.0">
                  <c:v>1.1293634496919891</c:v>
                </c:pt>
                <c:pt idx="453" formatCode="0.0">
                  <c:v>1.1293634496919891</c:v>
                </c:pt>
                <c:pt idx="454" formatCode="0.0">
                  <c:v>1.1293634496919891</c:v>
                </c:pt>
                <c:pt idx="455" formatCode="0.0">
                  <c:v>0.97236438075742893</c:v>
                </c:pt>
                <c:pt idx="456" formatCode="0.0">
                  <c:v>0.97236438075742893</c:v>
                </c:pt>
                <c:pt idx="457" formatCode="0.0">
                  <c:v>0.97236438075742893</c:v>
                </c:pt>
                <c:pt idx="458" formatCode="0.0">
                  <c:v>0.97236438075742893</c:v>
                </c:pt>
                <c:pt idx="459" formatCode="0.0">
                  <c:v>0.97236438075742893</c:v>
                </c:pt>
                <c:pt idx="460" formatCode="0.0">
                  <c:v>1.4373716632443356</c:v>
                </c:pt>
                <c:pt idx="461" formatCode="0.0">
                  <c:v>1.4373716632443356</c:v>
                </c:pt>
                <c:pt idx="462" formatCode="0.0">
                  <c:v>1.4373716632443356</c:v>
                </c:pt>
                <c:pt idx="463" formatCode="0.0">
                  <c:v>1.4373716632443356</c:v>
                </c:pt>
                <c:pt idx="464" formatCode="0.0">
                  <c:v>1.8461538461538529</c:v>
                </c:pt>
                <c:pt idx="465" formatCode="0.0">
                  <c:v>1.8461538461538529</c:v>
                </c:pt>
                <c:pt idx="466" formatCode="0.0">
                  <c:v>1.8461538461538529</c:v>
                </c:pt>
                <c:pt idx="467" formatCode="0.0">
                  <c:v>1.8461538461538529</c:v>
                </c:pt>
                <c:pt idx="468" formatCode="0.0">
                  <c:v>1.8461538461538529</c:v>
                </c:pt>
                <c:pt idx="469" formatCode="0.0">
                  <c:v>2.0439448134900395</c:v>
                </c:pt>
                <c:pt idx="470" formatCode="0.0">
                  <c:v>2.0439448134900395</c:v>
                </c:pt>
                <c:pt idx="471" formatCode="0.0">
                  <c:v>2.0439448134900395</c:v>
                </c:pt>
                <c:pt idx="472" formatCode="0.0">
                  <c:v>2.0439448134900395</c:v>
                </c:pt>
                <c:pt idx="473" formatCode="0.0">
                  <c:v>1.9279553526128979</c:v>
                </c:pt>
                <c:pt idx="474" formatCode="0.0">
                  <c:v>1.9279553526128979</c:v>
                </c:pt>
                <c:pt idx="475" formatCode="0.0">
                  <c:v>1.9279553526128979</c:v>
                </c:pt>
                <c:pt idx="476" formatCode="0.0">
                  <c:v>1.9279553526128979</c:v>
                </c:pt>
                <c:pt idx="477" formatCode="0.0">
                  <c:v>1.3636363636363669</c:v>
                </c:pt>
                <c:pt idx="478" formatCode="0.0">
                  <c:v>1.3636363636363669</c:v>
                </c:pt>
                <c:pt idx="479" formatCode="0.0">
                  <c:v>1.3636363636363669</c:v>
                </c:pt>
                <c:pt idx="480" formatCode="0.0">
                  <c:v>1.3636363636363669</c:v>
                </c:pt>
                <c:pt idx="481" formatCode="0.0">
                  <c:v>1.3636363636363669</c:v>
                </c:pt>
                <c:pt idx="482" formatCode="General">
                  <c:v>0.7</c:v>
                </c:pt>
                <c:pt idx="483" formatCode="General">
                  <c:v>0.7</c:v>
                </c:pt>
                <c:pt idx="484" formatCode="General">
                  <c:v>0.7</c:v>
                </c:pt>
                <c:pt idx="485" formatCode="General">
                  <c:v>0.7</c:v>
                </c:pt>
                <c:pt idx="486" formatCode="0.0">
                  <c:v>0.70387129210658372</c:v>
                </c:pt>
                <c:pt idx="487" formatCode="0.0">
                  <c:v>0.70387129210658372</c:v>
                </c:pt>
                <c:pt idx="488" formatCode="0.0">
                  <c:v>0.70387129210658372</c:v>
                </c:pt>
                <c:pt idx="489" formatCode="0.0">
                  <c:v>0.70387129210658372</c:v>
                </c:pt>
                <c:pt idx="490" formatCode="0.0">
                  <c:v>1.5625</c:v>
                </c:pt>
                <c:pt idx="491" formatCode="0.0">
                  <c:v>1.5625</c:v>
                </c:pt>
                <c:pt idx="492" formatCode="0.0">
                  <c:v>1.5625</c:v>
                </c:pt>
                <c:pt idx="493" formatCode="0.0">
                  <c:v>1.5625</c:v>
                </c:pt>
                <c:pt idx="494" formatCode="0.0">
                  <c:v>1.5625</c:v>
                </c:pt>
                <c:pt idx="495" formatCode="0.0">
                  <c:v>2.0212228398180931</c:v>
                </c:pt>
                <c:pt idx="496" formatCode="0.0">
                  <c:v>2.0212228398180931</c:v>
                </c:pt>
                <c:pt idx="497" formatCode="0.0">
                  <c:v>2.0212228398180931</c:v>
                </c:pt>
                <c:pt idx="498" formatCode="0.0">
                  <c:v>2.0212228398180931</c:v>
                </c:pt>
                <c:pt idx="499" formatCode="0.0">
                  <c:v>1.9201616978271829</c:v>
                </c:pt>
                <c:pt idx="500" formatCode="0.0">
                  <c:v>1.9201616978271829</c:v>
                </c:pt>
                <c:pt idx="501" formatCode="0.0">
                  <c:v>1.9201616978271829</c:v>
                </c:pt>
                <c:pt idx="502" formatCode="0.0">
                  <c:v>1.9201616978271829</c:v>
                </c:pt>
                <c:pt idx="503" formatCode="0.0">
                  <c:v>1.8781725888324718</c:v>
                </c:pt>
                <c:pt idx="504" formatCode="0.0">
                  <c:v>1.8781725888324718</c:v>
                </c:pt>
                <c:pt idx="505" formatCode="0.0">
                  <c:v>1.8781725888324718</c:v>
                </c:pt>
                <c:pt idx="506" formatCode="0.0">
                  <c:v>1.8781725888324718</c:v>
                </c:pt>
                <c:pt idx="507" formatCode="0.0">
                  <c:v>1.8781725888324718</c:v>
                </c:pt>
                <c:pt idx="508" formatCode="0.0">
                  <c:v>1.8246325392802909</c:v>
                </c:pt>
                <c:pt idx="509" formatCode="0.0">
                  <c:v>1.8246325392802909</c:v>
                </c:pt>
                <c:pt idx="510" formatCode="0.0">
                  <c:v>1.8246325392802909</c:v>
                </c:pt>
                <c:pt idx="511" formatCode="0.0">
                  <c:v>1.8246325392802909</c:v>
                </c:pt>
                <c:pt idx="512" formatCode="0.0">
                  <c:v>1.7206477732793601</c:v>
                </c:pt>
                <c:pt idx="513" formatCode="0.0">
                  <c:v>1.7206477732793601</c:v>
                </c:pt>
                <c:pt idx="514" formatCode="0.0">
                  <c:v>1.7206477732793601</c:v>
                </c:pt>
                <c:pt idx="515" formatCode="0.0">
                  <c:v>1.7206477732793601</c:v>
                </c:pt>
                <c:pt idx="516" formatCode="0.0">
                  <c:v>1.2588116817723982</c:v>
                </c:pt>
                <c:pt idx="517" formatCode="0.0">
                  <c:v>1.2588116817723982</c:v>
                </c:pt>
                <c:pt idx="518" formatCode="0.0">
                  <c:v>1.2588116817723982</c:v>
                </c:pt>
                <c:pt idx="519" formatCode="0.0">
                  <c:v>1.2588116817723982</c:v>
                </c:pt>
                <c:pt idx="520" formatCode="0.0">
                  <c:v>1.2588116817723982</c:v>
                </c:pt>
                <c:pt idx="521" formatCode="0.0">
                  <c:v>1.1517275913870861</c:v>
                </c:pt>
                <c:pt idx="522" formatCode="0.0">
                  <c:v>1.1517275913870861</c:v>
                </c:pt>
                <c:pt idx="523" formatCode="0.0">
                  <c:v>1.1517275913870861</c:v>
                </c:pt>
                <c:pt idx="524" formatCode="0.0">
                  <c:v>1.1517275913870861</c:v>
                </c:pt>
                <c:pt idx="525" formatCode="0.0">
                  <c:v>1.1946241911398703</c:v>
                </c:pt>
                <c:pt idx="526" formatCode="0.0">
                  <c:v>1.1946241911398703</c:v>
                </c:pt>
                <c:pt idx="527" formatCode="0.0">
                  <c:v>1.1946241911398703</c:v>
                </c:pt>
                <c:pt idx="528" formatCode="0.0">
                  <c:v>1.1946241911398703</c:v>
                </c:pt>
                <c:pt idx="529" formatCode="0.0">
                  <c:v>1.7937219730941756</c:v>
                </c:pt>
                <c:pt idx="530" formatCode="0.0">
                  <c:v>1.7937219730941756</c:v>
                </c:pt>
                <c:pt idx="531" formatCode="0.0">
                  <c:v>1.7937219730941756</c:v>
                </c:pt>
                <c:pt idx="532" formatCode="0.0">
                  <c:v>1.7937219730941756</c:v>
                </c:pt>
                <c:pt idx="533" formatCode="0.0">
                  <c:v>1.7937219730941756</c:v>
                </c:pt>
                <c:pt idx="534" formatCode="0.0">
                  <c:v>2.7888446215139417</c:v>
                </c:pt>
                <c:pt idx="535" formatCode="0.0">
                  <c:v>2.7888446215139417</c:v>
                </c:pt>
                <c:pt idx="536" formatCode="0.0">
                  <c:v>2.7888446215139417</c:v>
                </c:pt>
                <c:pt idx="537" formatCode="0.0">
                  <c:v>2.7888446215139417</c:v>
                </c:pt>
                <c:pt idx="538" formatCode="0.0">
                  <c:v>3.5946080878682007</c:v>
                </c:pt>
                <c:pt idx="539" formatCode="0.0">
                  <c:v>3.5946080878682007</c:v>
                </c:pt>
                <c:pt idx="540" formatCode="0.0">
                  <c:v>3.5946080878682007</c:v>
                </c:pt>
                <c:pt idx="541" formatCode="0.0">
                  <c:v>3.5946080878682007</c:v>
                </c:pt>
                <c:pt idx="542" formatCode="0.0">
                  <c:v>3.2754342431761785</c:v>
                </c:pt>
                <c:pt idx="543" formatCode="0.0">
                  <c:v>3.2754342431761785</c:v>
                </c:pt>
                <c:pt idx="544" formatCode="0.0">
                  <c:v>3.2754342431761785</c:v>
                </c:pt>
                <c:pt idx="545" formatCode="0.0">
                  <c:v>3.2754342431761785</c:v>
                </c:pt>
                <c:pt idx="546" formatCode="0.0">
                  <c:v>3.2754342431761785</c:v>
                </c:pt>
                <c:pt idx="547" formatCode="0.0">
                  <c:v>3.3184744923229204</c:v>
                </c:pt>
                <c:pt idx="548" formatCode="0.0">
                  <c:v>3.3184744923229204</c:v>
                </c:pt>
                <c:pt idx="549" formatCode="0.0">
                  <c:v>3.3184744923229204</c:v>
                </c:pt>
                <c:pt idx="550" formatCode="0.0">
                  <c:v>3.3184744923229204</c:v>
                </c:pt>
                <c:pt idx="551" formatCode="0.0">
                  <c:v>4.3133366385721406</c:v>
                </c:pt>
                <c:pt idx="552" formatCode="0.0">
                  <c:v>4.3133366385721406</c:v>
                </c:pt>
                <c:pt idx="553" formatCode="0.0">
                  <c:v>4.3133366385721406</c:v>
                </c:pt>
                <c:pt idx="554" formatCode="0.0">
                  <c:v>4.3133366385721406</c:v>
                </c:pt>
                <c:pt idx="555" formatCode="0.0">
                  <c:v>4.3133366385721406</c:v>
                </c:pt>
                <c:pt idx="556" formatCode="General">
                  <c:v>5.7</c:v>
                </c:pt>
                <c:pt idx="557" formatCode="General">
                  <c:v>5.7</c:v>
                </c:pt>
                <c:pt idx="558" formatCode="General">
                  <c:v>5.7</c:v>
                </c:pt>
                <c:pt idx="559" formatCode="General">
                  <c:v>5.7</c:v>
                </c:pt>
                <c:pt idx="560" formatCode="General">
                  <c:v>6.6</c:v>
                </c:pt>
                <c:pt idx="561" formatCode="General">
                  <c:v>6.6</c:v>
                </c:pt>
                <c:pt idx="562" formatCode="General">
                  <c:v>6.6</c:v>
                </c:pt>
                <c:pt idx="563" formatCode="General">
                  <c:v>6.6</c:v>
                </c:pt>
                <c:pt idx="564" formatCode="General">
                  <c:v>7.5</c:v>
                </c:pt>
                <c:pt idx="565" formatCode="General">
                  <c:v>7.5</c:v>
                </c:pt>
                <c:pt idx="566" formatCode="General">
                  <c:v>7.5</c:v>
                </c:pt>
                <c:pt idx="567" formatCode="General">
                  <c:v>7.5</c:v>
                </c:pt>
                <c:pt idx="568" formatCode="General">
                  <c:v>7.5</c:v>
                </c:pt>
                <c:pt idx="569" formatCode="General">
                  <c:v>7.9</c:v>
                </c:pt>
                <c:pt idx="570" formatCode="General">
                  <c:v>7.9</c:v>
                </c:pt>
                <c:pt idx="571" formatCode="General">
                  <c:v>7.9</c:v>
                </c:pt>
                <c:pt idx="572" formatCode="General">
                  <c:v>7.9</c:v>
                </c:pt>
                <c:pt idx="573" formatCode="General">
                  <c:v>8.3000000000000007</c:v>
                </c:pt>
                <c:pt idx="574" formatCode="General">
                  <c:v>8.3000000000000007</c:v>
                </c:pt>
                <c:pt idx="575" formatCode="General">
                  <c:v>8.3000000000000007</c:v>
                </c:pt>
                <c:pt idx="576" formatCode="General">
                  <c:v>8.3000000000000007</c:v>
                </c:pt>
                <c:pt idx="577" formatCode="General">
                  <c:v>8.8000000000000007</c:v>
                </c:pt>
                <c:pt idx="578" formatCode="General">
                  <c:v>8.8000000000000007</c:v>
                </c:pt>
                <c:pt idx="579" formatCode="General">
                  <c:v>8.8000000000000007</c:v>
                </c:pt>
                <c:pt idx="580" formatCode="General">
                  <c:v>8.8000000000000007</c:v>
                </c:pt>
                <c:pt idx="581" formatCode="0.0">
                  <c:v>9.104258443465497</c:v>
                </c:pt>
                <c:pt idx="582" formatCode="0.0">
                  <c:v>9.104258443465497</c:v>
                </c:pt>
                <c:pt idx="583" formatCode="0.0">
                  <c:v>9.104258443465497</c:v>
                </c:pt>
                <c:pt idx="584" formatCode="0.0">
                  <c:v>9.104258443465497</c:v>
                </c:pt>
                <c:pt idx="585" formatCode="0.0">
                  <c:v>9.104258443465497</c:v>
                </c:pt>
                <c:pt idx="586" formatCode="0.0">
                  <c:v>9.6414728682170612</c:v>
                </c:pt>
                <c:pt idx="587" formatCode="0.0">
                  <c:v>9.6414728682170612</c:v>
                </c:pt>
                <c:pt idx="588" formatCode="0.0">
                  <c:v>9.6414728682170612</c:v>
                </c:pt>
                <c:pt idx="589" formatCode="0.0">
                  <c:v>9.6414728682170612</c:v>
                </c:pt>
                <c:pt idx="590" formatCode="0.0">
                  <c:v>10.40963855421686</c:v>
                </c:pt>
                <c:pt idx="591" formatCode="0.0">
                  <c:v>10.40963855421686</c:v>
                </c:pt>
                <c:pt idx="592" formatCode="0.0">
                  <c:v>10.40963855421686</c:v>
                </c:pt>
                <c:pt idx="593" formatCode="0.0">
                  <c:v>10.40963855421686</c:v>
                </c:pt>
                <c:pt idx="594" formatCode="0.0">
                  <c:v>10.40963855421686</c:v>
                </c:pt>
                <c:pt idx="595" formatCode="0.0">
                  <c:v>11.869293608841902</c:v>
                </c:pt>
                <c:pt idx="596" formatCode="0.0">
                  <c:v>11.869293608841902</c:v>
                </c:pt>
                <c:pt idx="597" formatCode="0.0">
                  <c:v>11.869293608841902</c:v>
                </c:pt>
                <c:pt idx="598" formatCode="0.0">
                  <c:v>11.869293608841902</c:v>
                </c:pt>
                <c:pt idx="599" formatCode="0.0">
                  <c:v>12.751677852348987</c:v>
                </c:pt>
                <c:pt idx="600" formatCode="0.0">
                  <c:v>12.751677852348987</c:v>
                </c:pt>
                <c:pt idx="601" formatCode="0.0">
                  <c:v>12.751677852348987</c:v>
                </c:pt>
                <c:pt idx="602" formatCode="0.0">
                  <c:v>12.751677852348987</c:v>
                </c:pt>
                <c:pt idx="603" formatCode="0.0">
                  <c:v>13.165399239543717</c:v>
                </c:pt>
                <c:pt idx="604" formatCode="0.0">
                  <c:v>13.165399239543717</c:v>
                </c:pt>
                <c:pt idx="605" formatCode="0.0">
                  <c:v>13.165399239543717</c:v>
                </c:pt>
                <c:pt idx="606" formatCode="0.0">
                  <c:v>13.165399239543717</c:v>
                </c:pt>
                <c:pt idx="607" formatCode="0.0">
                  <c:v>13.165399239543717</c:v>
                </c:pt>
                <c:pt idx="608" formatCode="0.0">
                  <c:v>13.955681282413956</c:v>
                </c:pt>
                <c:pt idx="609" formatCode="0.0">
                  <c:v>13.955681282413956</c:v>
                </c:pt>
                <c:pt idx="610" formatCode="0.0">
                  <c:v>13.955681282413956</c:v>
                </c:pt>
                <c:pt idx="611" formatCode="0.0">
                  <c:v>13.955681282413956</c:v>
                </c:pt>
                <c:pt idx="612" formatCode="0.0">
                  <c:v>14.992993928070986</c:v>
                </c:pt>
                <c:pt idx="613" formatCode="0.0">
                  <c:v>14.992993928070986</c:v>
                </c:pt>
                <c:pt idx="614" formatCode="0.0">
                  <c:v>14.992993928070986</c:v>
                </c:pt>
                <c:pt idx="615" formatCode="0.0">
                  <c:v>14.992993928070986</c:v>
                </c:pt>
                <c:pt idx="616" formatCode="0.0">
                  <c:v>15.092592592592592</c:v>
                </c:pt>
                <c:pt idx="617" formatCode="0.0">
                  <c:v>15.092592592592592</c:v>
                </c:pt>
                <c:pt idx="618" formatCode="0.0">
                  <c:v>15.092592592592592</c:v>
                </c:pt>
                <c:pt idx="619" formatCode="0.0">
                  <c:v>15.092592592592592</c:v>
                </c:pt>
                <c:pt idx="620" formatCode="0.0">
                  <c:v>15.092592592592592</c:v>
                </c:pt>
                <c:pt idx="621" formatCode="0.0">
                  <c:v>15.122176118026731</c:v>
                </c:pt>
                <c:pt idx="622" formatCode="0.0">
                  <c:v>15.122176118026731</c:v>
                </c:pt>
                <c:pt idx="623" formatCode="0.0">
                  <c:v>15.122176118026731</c:v>
                </c:pt>
                <c:pt idx="624" formatCode="0.0">
                  <c:v>15.122176118026731</c:v>
                </c:pt>
                <c:pt idx="625" formatCode="0.0">
                  <c:v>15.775034293552803</c:v>
                </c:pt>
                <c:pt idx="626" formatCode="0.0">
                  <c:v>15.775034293552803</c:v>
                </c:pt>
                <c:pt idx="627" formatCode="0.0">
                  <c:v>15.775034293552803</c:v>
                </c:pt>
                <c:pt idx="628" formatCode="0.0">
                  <c:v>15.775034293552803</c:v>
                </c:pt>
                <c:pt idx="629" formatCode="0.0">
                  <c:v>15.775034293552803</c:v>
                </c:pt>
                <c:pt idx="630" formatCode="0.0">
                  <c:v>16.101311623699676</c:v>
                </c:pt>
                <c:pt idx="631" formatCode="0.0">
                  <c:v>16.101311623699676</c:v>
                </c:pt>
                <c:pt idx="632" formatCode="0.0">
                  <c:v>16.101311623699676</c:v>
                </c:pt>
                <c:pt idx="633" formatCode="0.0">
                  <c:v>16.101311623699676</c:v>
                </c:pt>
                <c:pt idx="634" formatCode="0.0">
                  <c:v>16.150740242261087</c:v>
                </c:pt>
                <c:pt idx="635" formatCode="0.0">
                  <c:v>16.150740242261087</c:v>
                </c:pt>
                <c:pt idx="636" formatCode="0.0">
                  <c:v>16.150740242261087</c:v>
                </c:pt>
                <c:pt idx="637" formatCode="0.0">
                  <c:v>16.150740242261087</c:v>
                </c:pt>
                <c:pt idx="638" formatCode="0.0">
                  <c:v>15.156871409633244</c:v>
                </c:pt>
                <c:pt idx="639" formatCode="0.0">
                  <c:v>15.156871409633244</c:v>
                </c:pt>
                <c:pt idx="640" formatCode="0.0">
                  <c:v>15.156871409633244</c:v>
                </c:pt>
                <c:pt idx="641" formatCode="0.0">
                  <c:v>15.156871409633244</c:v>
                </c:pt>
                <c:pt idx="642" formatCode="General">
                  <c:v>14.8</c:v>
                </c:pt>
                <c:pt idx="643" formatCode="General">
                  <c:v>14.8</c:v>
                </c:pt>
                <c:pt idx="644" formatCode="General">
                  <c:v>14.8</c:v>
                </c:pt>
                <c:pt idx="645" formatCode="General">
                  <c:v>14.8</c:v>
                </c:pt>
                <c:pt idx="646" formatCode="General">
                  <c:v>14.8</c:v>
                </c:pt>
                <c:pt idx="647" formatCode="0.0">
                  <c:v>13.745704467353947</c:v>
                </c:pt>
                <c:pt idx="648" formatCode="0.0">
                  <c:v>13.745704467353947</c:v>
                </c:pt>
                <c:pt idx="649" formatCode="0.0">
                  <c:v>13.745704467353947</c:v>
                </c:pt>
                <c:pt idx="650" formatCode="0.0">
                  <c:v>13.745704467353947</c:v>
                </c:pt>
                <c:pt idx="651" formatCode="0.0">
                  <c:v>12.542517006802711</c:v>
                </c:pt>
                <c:pt idx="652" formatCode="0.0">
                  <c:v>12.542517006802711</c:v>
                </c:pt>
                <c:pt idx="653" formatCode="0.0">
                  <c:v>12.542517006802711</c:v>
                </c:pt>
                <c:pt idx="654" formatCode="0.0">
                  <c:v>12.542517006802711</c:v>
                </c:pt>
                <c:pt idx="655" formatCode="0.0">
                  <c:v>11.549769004619925</c:v>
                </c:pt>
                <c:pt idx="656" formatCode="0.0">
                  <c:v>11.549769004619925</c:v>
                </c:pt>
                <c:pt idx="657" formatCode="0.0">
                  <c:v>11.549769004619925</c:v>
                </c:pt>
                <c:pt idx="658" formatCode="0.0">
                  <c:v>11.549769004619925</c:v>
                </c:pt>
                <c:pt idx="659" formatCode="0.0">
                  <c:v>11.549769004619925</c:v>
                </c:pt>
                <c:pt idx="660" formatCode="General">
                  <c:v>10.199999999999999</c:v>
                </c:pt>
                <c:pt idx="661" formatCode="General">
                  <c:v>10.199999999999999</c:v>
                </c:pt>
                <c:pt idx="662" formatCode="General">
                  <c:v>10.199999999999999</c:v>
                </c:pt>
                <c:pt idx="663" formatCode="General">
                  <c:v>10.199999999999999</c:v>
                </c:pt>
                <c:pt idx="664" formatCode="General">
                  <c:v>8.5</c:v>
                </c:pt>
                <c:pt idx="665" formatCode="General">
                  <c:v>8.5</c:v>
                </c:pt>
                <c:pt idx="666" formatCode="General">
                  <c:v>8.5</c:v>
                </c:pt>
                <c:pt idx="667" formatCode="General">
                  <c:v>8.5</c:v>
                </c:pt>
                <c:pt idx="668" formatCode="General">
                  <c:v>8.5</c:v>
                </c:pt>
                <c:pt idx="669">
                  <c:v>8</c:v>
                </c:pt>
                <c:pt idx="670">
                  <c:v>8</c:v>
                </c:pt>
                <c:pt idx="671">
                  <c:v>8</c:v>
                </c:pt>
                <c:pt idx="672">
                  <c:v>8</c:v>
                </c:pt>
                <c:pt idx="673" formatCode="0.0">
                  <c:v>7.6491790148177863</c:v>
                </c:pt>
                <c:pt idx="674" formatCode="0.0">
                  <c:v>7.6491790148177863</c:v>
                </c:pt>
                <c:pt idx="675" formatCode="0.0">
                  <c:v>7.6491790148177863</c:v>
                </c:pt>
                <c:pt idx="676" formatCode="0.0">
                  <c:v>7.6491790148177863</c:v>
                </c:pt>
                <c:pt idx="677" formatCode="0.0">
                  <c:v>6.4770932069510456</c:v>
                </c:pt>
                <c:pt idx="678" formatCode="0.0">
                  <c:v>6.4770932069510456</c:v>
                </c:pt>
                <c:pt idx="679" formatCode="0.0">
                  <c:v>6.4770932069510456</c:v>
                </c:pt>
                <c:pt idx="680" formatCode="0.0">
                  <c:v>6.4770932069510456</c:v>
                </c:pt>
                <c:pt idx="681" formatCode="0.0">
                  <c:v>6.4770932069510456</c:v>
                </c:pt>
                <c:pt idx="682" formatCode="General">
                  <c:v>5.6</c:v>
                </c:pt>
                <c:pt idx="683" formatCode="General">
                  <c:v>5.6</c:v>
                </c:pt>
                <c:pt idx="684" formatCode="General">
                  <c:v>5.6</c:v>
                </c:pt>
                <c:pt idx="685" formatCode="General">
                  <c:v>5.6</c:v>
                </c:pt>
                <c:pt idx="686" formatCode="0.0">
                  <c:v>4.9826187717265435</c:v>
                </c:pt>
                <c:pt idx="687" formatCode="0.0">
                  <c:v>4.9826187717265435</c:v>
                </c:pt>
                <c:pt idx="688" formatCode="0.0">
                  <c:v>4.9826187717265435</c:v>
                </c:pt>
                <c:pt idx="689" formatCode="0.0">
                  <c:v>4.9826187717265435</c:v>
                </c:pt>
                <c:pt idx="690" formatCode="0.0">
                  <c:v>4.9884881043745111</c:v>
                </c:pt>
                <c:pt idx="691" formatCode="0.0">
                  <c:v>4.9884881043745111</c:v>
                </c:pt>
                <c:pt idx="692" formatCode="0.0">
                  <c:v>4.9884881043745111</c:v>
                </c:pt>
                <c:pt idx="693" formatCode="0.0">
                  <c:v>4.9884881043745111</c:v>
                </c:pt>
                <c:pt idx="694" formatCode="0.0">
                  <c:v>4.9884881043745111</c:v>
                </c:pt>
                <c:pt idx="695" formatCode="0.0">
                  <c:v>4.4883986306580415</c:v>
                </c:pt>
                <c:pt idx="696" formatCode="0.0">
                  <c:v>4.4883986306580415</c:v>
                </c:pt>
                <c:pt idx="697" formatCode="0.0">
                  <c:v>4.4883986306580415</c:v>
                </c:pt>
                <c:pt idx="698" formatCode="0.0">
                  <c:v>4.4883986306580415</c:v>
                </c:pt>
                <c:pt idx="699" formatCode="General">
                  <c:v>3.8</c:v>
                </c:pt>
                <c:pt idx="700" formatCode="General">
                  <c:v>3.8</c:v>
                </c:pt>
                <c:pt idx="701" formatCode="General">
                  <c:v>3.8</c:v>
                </c:pt>
                <c:pt idx="702" formatCode="General">
                  <c:v>3.8</c:v>
                </c:pt>
                <c:pt idx="703" formatCode="General">
                  <c:v>4.3</c:v>
                </c:pt>
                <c:pt idx="704" formatCode="General">
                  <c:v>4.3</c:v>
                </c:pt>
                <c:pt idx="705" formatCode="General">
                  <c:v>4.3</c:v>
                </c:pt>
                <c:pt idx="706" formatCode="General">
                  <c:v>4.3</c:v>
                </c:pt>
                <c:pt idx="707" formatCode="General">
                  <c:v>4.3</c:v>
                </c:pt>
                <c:pt idx="708" formatCode="General">
                  <c:v>4.3</c:v>
                </c:pt>
                <c:pt idx="709" formatCode="General">
                  <c:v>4.3</c:v>
                </c:pt>
                <c:pt idx="710" formatCode="General">
                  <c:v>4.3</c:v>
                </c:pt>
                <c:pt idx="711" formatCode="General">
                  <c:v>4.3</c:v>
                </c:pt>
                <c:pt idx="712" formatCode="General">
                  <c:v>4.2</c:v>
                </c:pt>
                <c:pt idx="713" formatCode="General">
                  <c:v>4.2</c:v>
                </c:pt>
                <c:pt idx="714" formatCode="General">
                  <c:v>4.2</c:v>
                </c:pt>
                <c:pt idx="715" formatCode="General">
                  <c:v>4.2</c:v>
                </c:pt>
                <c:pt idx="716" formatCode="0.0">
                  <c:v>4.4926993635342471</c:v>
                </c:pt>
                <c:pt idx="717" formatCode="0.0">
                  <c:v>4.4926993635342471</c:v>
                </c:pt>
                <c:pt idx="718" formatCode="0.0">
                  <c:v>4.4926993635342471</c:v>
                </c:pt>
                <c:pt idx="719" formatCode="0.0">
                  <c:v>4.4926993635342471</c:v>
                </c:pt>
                <c:pt idx="720" formatCode="0.0">
                  <c:v>4.4926993635342471</c:v>
                </c:pt>
                <c:pt idx="721" formatCode="0.0">
                  <c:v>4.2846497764530644</c:v>
                </c:pt>
                <c:pt idx="722" formatCode="0.0">
                  <c:v>4.2846497764530644</c:v>
                </c:pt>
                <c:pt idx="723" formatCode="0.0">
                  <c:v>4.2846497764530644</c:v>
                </c:pt>
                <c:pt idx="724" formatCode="0.0">
                  <c:v>4.2846497764530644</c:v>
                </c:pt>
                <c:pt idx="725" formatCode="0.0">
                  <c:v>4.2782738095238138</c:v>
                </c:pt>
                <c:pt idx="726" formatCode="0.0">
                  <c:v>4.2782738095238138</c:v>
                </c:pt>
                <c:pt idx="727" formatCode="0.0">
                  <c:v>4.2782738095238138</c:v>
                </c:pt>
                <c:pt idx="728" formatCode="0.0">
                  <c:v>4.2782738095238138</c:v>
                </c:pt>
                <c:pt idx="729" formatCode="0.0">
                  <c:v>4.2782738095238102</c:v>
                </c:pt>
                <c:pt idx="730" formatCode="0.0">
                  <c:v>4.5994065281899088</c:v>
                </c:pt>
                <c:pt idx="731" formatCode="0.0">
                  <c:v>4.5994065281899088</c:v>
                </c:pt>
                <c:pt idx="732" formatCode="0.0">
                  <c:v>4.5994065281899088</c:v>
                </c:pt>
                <c:pt idx="733" formatCode="0.0">
                  <c:v>4.5994065281899088</c:v>
                </c:pt>
                <c:pt idx="734" formatCode="0.0">
                  <c:v>4.5370711914422657</c:v>
                </c:pt>
                <c:pt idx="735" formatCode="0.0">
                  <c:v>4.5370711914422657</c:v>
                </c:pt>
                <c:pt idx="736" formatCode="0.0">
                  <c:v>4.5370711914422657</c:v>
                </c:pt>
                <c:pt idx="737" formatCode="0.0">
                  <c:v>4.5370711914422657</c:v>
                </c:pt>
                <c:pt idx="738" formatCode="General">
                  <c:v>4.3</c:v>
                </c:pt>
                <c:pt idx="739" formatCode="General">
                  <c:v>4.3</c:v>
                </c:pt>
                <c:pt idx="740" formatCode="General">
                  <c:v>4.3</c:v>
                </c:pt>
                <c:pt idx="741" formatCode="General">
                  <c:v>4.3</c:v>
                </c:pt>
                <c:pt idx="742" formatCode="0.0">
                  <c:v>4</c:v>
                </c:pt>
                <c:pt idx="743" formatCode="0.0">
                  <c:v>4</c:v>
                </c:pt>
                <c:pt idx="744" formatCode="0.0">
                  <c:v>4</c:v>
                </c:pt>
                <c:pt idx="745" formatCode="0.0">
                  <c:v>4</c:v>
                </c:pt>
                <c:pt idx="746" formatCode="0.0">
                  <c:v>4</c:v>
                </c:pt>
                <c:pt idx="747" formatCode="General">
                  <c:v>3.8</c:v>
                </c:pt>
                <c:pt idx="748" formatCode="General">
                  <c:v>3.8</c:v>
                </c:pt>
                <c:pt idx="749" formatCode="General">
                  <c:v>3.8</c:v>
                </c:pt>
                <c:pt idx="750" formatCode="General">
                  <c:v>3.8</c:v>
                </c:pt>
                <c:pt idx="751" formatCode="0.0">
                  <c:v>4.6198617679156229</c:v>
                </c:pt>
                <c:pt idx="752" formatCode="0.0">
                  <c:v>4.6198617679156229</c:v>
                </c:pt>
                <c:pt idx="753" formatCode="0.0">
                  <c:v>4.6198617679156229</c:v>
                </c:pt>
                <c:pt idx="754" formatCode="0.0">
                  <c:v>4.6198617679156229</c:v>
                </c:pt>
                <c:pt idx="755" formatCode="0.0">
                  <c:v>4.8913043478260976</c:v>
                </c:pt>
                <c:pt idx="756" formatCode="0.0">
                  <c:v>4.8913043478260976</c:v>
                </c:pt>
                <c:pt idx="757" formatCode="0.0">
                  <c:v>4.8913043478260976</c:v>
                </c:pt>
                <c:pt idx="758" formatCode="0.0">
                  <c:v>4.8913043478260976</c:v>
                </c:pt>
                <c:pt idx="759" formatCode="0.0">
                  <c:v>4.8913043478260976</c:v>
                </c:pt>
                <c:pt idx="760" formatCode="General">
                  <c:v>4.7</c:v>
                </c:pt>
                <c:pt idx="761" formatCode="General">
                  <c:v>4.7</c:v>
                </c:pt>
                <c:pt idx="762" formatCode="General">
                  <c:v>4.7</c:v>
                </c:pt>
                <c:pt idx="763" formatCode="General">
                  <c:v>4.7</c:v>
                </c:pt>
                <c:pt idx="764" formatCode="General">
                  <c:v>2.9</c:v>
                </c:pt>
                <c:pt idx="765" formatCode="General">
                  <c:v>2.9</c:v>
                </c:pt>
                <c:pt idx="766" formatCode="General">
                  <c:v>2.9</c:v>
                </c:pt>
                <c:pt idx="767" formatCode="General">
                  <c:v>2.9</c:v>
                </c:pt>
                <c:pt idx="768" formatCode="General">
                  <c:v>2.9</c:v>
                </c:pt>
                <c:pt idx="769" formatCode="General">
                  <c:v>2.8</c:v>
                </c:pt>
                <c:pt idx="770" formatCode="General">
                  <c:v>2.8</c:v>
                </c:pt>
                <c:pt idx="771" formatCode="General">
                  <c:v>2.8</c:v>
                </c:pt>
                <c:pt idx="772" formatCode="General">
                  <c:v>2.8</c:v>
                </c:pt>
                <c:pt idx="773" formatCode="General">
                  <c:v>2.8</c:v>
                </c:pt>
                <c:pt idx="774" formatCode="General">
                  <c:v>2.8</c:v>
                </c:pt>
                <c:pt idx="775" formatCode="General">
                  <c:v>2.8</c:v>
                </c:pt>
                <c:pt idx="776" formatCode="General">
                  <c:v>2.8</c:v>
                </c:pt>
                <c:pt idx="777" formatCode="General">
                  <c:v>2.8</c:v>
                </c:pt>
                <c:pt idx="778" formatCode="General">
                  <c:v>2.8</c:v>
                </c:pt>
                <c:pt idx="779" formatCode="General">
                  <c:v>2.8</c:v>
                </c:pt>
                <c:pt idx="780" formatCode="General">
                  <c:v>2.8</c:v>
                </c:pt>
                <c:pt idx="781" formatCode="General">
                  <c:v>2.8</c:v>
                </c:pt>
                <c:pt idx="782" formatCode="General">
                  <c:v>2.4</c:v>
                </c:pt>
                <c:pt idx="783" formatCode="General">
                  <c:v>2.4</c:v>
                </c:pt>
                <c:pt idx="784" formatCode="General">
                  <c:v>2.4</c:v>
                </c:pt>
                <c:pt idx="785" formatCode="General">
                  <c:v>2.4</c:v>
                </c:pt>
                <c:pt idx="786" formatCode="General">
                  <c:v>2.4</c:v>
                </c:pt>
                <c:pt idx="787" formatCode="General">
                  <c:v>2.4</c:v>
                </c:pt>
                <c:pt idx="788" formatCode="General">
                  <c:v>2.4</c:v>
                </c:pt>
                <c:pt idx="789" formatCode="General">
                  <c:v>2.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82B-41CE-9760-DAD93B769A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06187040"/>
        <c:axId val="-1206194112"/>
      </c:lineChart>
      <c:lineChart>
        <c:grouping val="standard"/>
        <c:varyColors val="0"/>
        <c:ser>
          <c:idx val="0"/>
          <c:order val="0"/>
          <c:tx>
            <c:strRef>
              <c:f>'T5-8'!$C$1</c:f>
              <c:strCache>
                <c:ptCount val="1"/>
                <c:pt idx="0">
                  <c:v>policy rate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T5-8'!$B$159:$B$949</c:f>
              <c:numCache>
                <c:formatCode>[$-409]d\-mmm\-yyyy;@</c:formatCode>
                <c:ptCount val="791"/>
                <c:pt idx="0">
                  <c:v>40547</c:v>
                </c:pt>
                <c:pt idx="1">
                  <c:v>40554</c:v>
                </c:pt>
                <c:pt idx="2">
                  <c:v>40561</c:v>
                </c:pt>
                <c:pt idx="3">
                  <c:v>40568</c:v>
                </c:pt>
                <c:pt idx="4">
                  <c:v>40575</c:v>
                </c:pt>
                <c:pt idx="5">
                  <c:v>40582</c:v>
                </c:pt>
                <c:pt idx="6">
                  <c:v>40589</c:v>
                </c:pt>
                <c:pt idx="7">
                  <c:v>40596</c:v>
                </c:pt>
                <c:pt idx="8">
                  <c:v>40603</c:v>
                </c:pt>
                <c:pt idx="9">
                  <c:v>40610</c:v>
                </c:pt>
                <c:pt idx="10">
                  <c:v>40617</c:v>
                </c:pt>
                <c:pt idx="11">
                  <c:v>40624</c:v>
                </c:pt>
                <c:pt idx="12">
                  <c:v>40631</c:v>
                </c:pt>
                <c:pt idx="13">
                  <c:v>40638</c:v>
                </c:pt>
                <c:pt idx="14">
                  <c:v>40645</c:v>
                </c:pt>
                <c:pt idx="15">
                  <c:v>40652</c:v>
                </c:pt>
                <c:pt idx="16">
                  <c:v>40659</c:v>
                </c:pt>
                <c:pt idx="17">
                  <c:v>40666</c:v>
                </c:pt>
                <c:pt idx="18">
                  <c:v>40673</c:v>
                </c:pt>
                <c:pt idx="19">
                  <c:v>40680</c:v>
                </c:pt>
                <c:pt idx="20">
                  <c:v>40687</c:v>
                </c:pt>
                <c:pt idx="21">
                  <c:v>40694</c:v>
                </c:pt>
                <c:pt idx="22">
                  <c:v>40701</c:v>
                </c:pt>
                <c:pt idx="23">
                  <c:v>40708</c:v>
                </c:pt>
                <c:pt idx="24">
                  <c:v>40715</c:v>
                </c:pt>
                <c:pt idx="25">
                  <c:v>40722</c:v>
                </c:pt>
                <c:pt idx="26">
                  <c:v>40729</c:v>
                </c:pt>
                <c:pt idx="27">
                  <c:v>40736</c:v>
                </c:pt>
                <c:pt idx="28">
                  <c:v>40743</c:v>
                </c:pt>
                <c:pt idx="29">
                  <c:v>40750</c:v>
                </c:pt>
                <c:pt idx="30">
                  <c:v>40757</c:v>
                </c:pt>
                <c:pt idx="31">
                  <c:v>40764</c:v>
                </c:pt>
                <c:pt idx="32">
                  <c:v>40771</c:v>
                </c:pt>
                <c:pt idx="33">
                  <c:v>40778</c:v>
                </c:pt>
                <c:pt idx="34">
                  <c:v>40785</c:v>
                </c:pt>
                <c:pt idx="35">
                  <c:v>40792</c:v>
                </c:pt>
                <c:pt idx="36">
                  <c:v>40799</c:v>
                </c:pt>
                <c:pt idx="37">
                  <c:v>40806</c:v>
                </c:pt>
                <c:pt idx="38">
                  <c:v>40813</c:v>
                </c:pt>
                <c:pt idx="39">
                  <c:v>40820</c:v>
                </c:pt>
                <c:pt idx="40">
                  <c:v>40827</c:v>
                </c:pt>
                <c:pt idx="41">
                  <c:v>40834</c:v>
                </c:pt>
                <c:pt idx="42">
                  <c:v>40841</c:v>
                </c:pt>
                <c:pt idx="43">
                  <c:v>40848</c:v>
                </c:pt>
                <c:pt idx="44">
                  <c:v>40855</c:v>
                </c:pt>
                <c:pt idx="45">
                  <c:v>40862</c:v>
                </c:pt>
                <c:pt idx="46">
                  <c:v>40869</c:v>
                </c:pt>
                <c:pt idx="47">
                  <c:v>40876</c:v>
                </c:pt>
                <c:pt idx="48">
                  <c:v>40883</c:v>
                </c:pt>
                <c:pt idx="49">
                  <c:v>40890</c:v>
                </c:pt>
                <c:pt idx="50">
                  <c:v>40897</c:v>
                </c:pt>
                <c:pt idx="51">
                  <c:v>40904</c:v>
                </c:pt>
                <c:pt idx="52">
                  <c:v>40911</c:v>
                </c:pt>
                <c:pt idx="53">
                  <c:v>40918</c:v>
                </c:pt>
                <c:pt idx="54">
                  <c:v>40925</c:v>
                </c:pt>
                <c:pt idx="55">
                  <c:v>40932</c:v>
                </c:pt>
                <c:pt idx="56">
                  <c:v>40939</c:v>
                </c:pt>
                <c:pt idx="57">
                  <c:v>40946</c:v>
                </c:pt>
                <c:pt idx="58">
                  <c:v>40953</c:v>
                </c:pt>
                <c:pt idx="59">
                  <c:v>40960</c:v>
                </c:pt>
                <c:pt idx="60">
                  <c:v>40967</c:v>
                </c:pt>
                <c:pt idx="61">
                  <c:v>40974</c:v>
                </c:pt>
                <c:pt idx="62">
                  <c:v>40981</c:v>
                </c:pt>
                <c:pt idx="63">
                  <c:v>40988</c:v>
                </c:pt>
                <c:pt idx="64">
                  <c:v>40995</c:v>
                </c:pt>
                <c:pt idx="65">
                  <c:v>41002</c:v>
                </c:pt>
                <c:pt idx="66">
                  <c:v>41009</c:v>
                </c:pt>
                <c:pt idx="67">
                  <c:v>41016</c:v>
                </c:pt>
                <c:pt idx="68">
                  <c:v>41023</c:v>
                </c:pt>
                <c:pt idx="69">
                  <c:v>41030</c:v>
                </c:pt>
                <c:pt idx="70">
                  <c:v>41037</c:v>
                </c:pt>
                <c:pt idx="71">
                  <c:v>41044</c:v>
                </c:pt>
                <c:pt idx="72">
                  <c:v>41051</c:v>
                </c:pt>
                <c:pt idx="73">
                  <c:v>41058</c:v>
                </c:pt>
                <c:pt idx="74">
                  <c:v>41065</c:v>
                </c:pt>
                <c:pt idx="75">
                  <c:v>41072</c:v>
                </c:pt>
                <c:pt idx="76">
                  <c:v>41079</c:v>
                </c:pt>
                <c:pt idx="77">
                  <c:v>41086</c:v>
                </c:pt>
                <c:pt idx="78">
                  <c:v>41093</c:v>
                </c:pt>
                <c:pt idx="79">
                  <c:v>41100</c:v>
                </c:pt>
                <c:pt idx="80">
                  <c:v>41107</c:v>
                </c:pt>
                <c:pt idx="81">
                  <c:v>41114</c:v>
                </c:pt>
                <c:pt idx="82">
                  <c:v>41121</c:v>
                </c:pt>
                <c:pt idx="83">
                  <c:v>41128</c:v>
                </c:pt>
                <c:pt idx="84">
                  <c:v>41135</c:v>
                </c:pt>
                <c:pt idx="85">
                  <c:v>41142</c:v>
                </c:pt>
                <c:pt idx="86">
                  <c:v>41149</c:v>
                </c:pt>
                <c:pt idx="87">
                  <c:v>41156</c:v>
                </c:pt>
                <c:pt idx="88">
                  <c:v>41163</c:v>
                </c:pt>
                <c:pt idx="89">
                  <c:v>41170</c:v>
                </c:pt>
                <c:pt idx="90">
                  <c:v>41177</c:v>
                </c:pt>
                <c:pt idx="91">
                  <c:v>41184</c:v>
                </c:pt>
                <c:pt idx="92">
                  <c:v>41191</c:v>
                </c:pt>
                <c:pt idx="93">
                  <c:v>41198</c:v>
                </c:pt>
                <c:pt idx="94">
                  <c:v>41205</c:v>
                </c:pt>
                <c:pt idx="95">
                  <c:v>41212</c:v>
                </c:pt>
                <c:pt idx="96">
                  <c:v>41219</c:v>
                </c:pt>
                <c:pt idx="97">
                  <c:v>41226</c:v>
                </c:pt>
                <c:pt idx="98">
                  <c:v>41233</c:v>
                </c:pt>
                <c:pt idx="99">
                  <c:v>41240</c:v>
                </c:pt>
                <c:pt idx="100">
                  <c:v>41247</c:v>
                </c:pt>
                <c:pt idx="101">
                  <c:v>41254</c:v>
                </c:pt>
                <c:pt idx="102">
                  <c:v>41261</c:v>
                </c:pt>
                <c:pt idx="103">
                  <c:v>41268</c:v>
                </c:pt>
                <c:pt idx="104">
                  <c:v>41275</c:v>
                </c:pt>
                <c:pt idx="105">
                  <c:v>41282</c:v>
                </c:pt>
                <c:pt idx="106">
                  <c:v>41289</c:v>
                </c:pt>
                <c:pt idx="107">
                  <c:v>41296</c:v>
                </c:pt>
                <c:pt idx="108">
                  <c:v>41303</c:v>
                </c:pt>
                <c:pt idx="109">
                  <c:v>41310</c:v>
                </c:pt>
                <c:pt idx="110">
                  <c:v>41317</c:v>
                </c:pt>
                <c:pt idx="111">
                  <c:v>41324</c:v>
                </c:pt>
                <c:pt idx="112">
                  <c:v>41331</c:v>
                </c:pt>
                <c:pt idx="113">
                  <c:v>41338</c:v>
                </c:pt>
                <c:pt idx="114">
                  <c:v>41345</c:v>
                </c:pt>
                <c:pt idx="115">
                  <c:v>41352</c:v>
                </c:pt>
                <c:pt idx="116">
                  <c:v>41359</c:v>
                </c:pt>
                <c:pt idx="117">
                  <c:v>41366</c:v>
                </c:pt>
                <c:pt idx="118">
                  <c:v>41373</c:v>
                </c:pt>
                <c:pt idx="119">
                  <c:v>41380</c:v>
                </c:pt>
                <c:pt idx="120">
                  <c:v>41387</c:v>
                </c:pt>
                <c:pt idx="121">
                  <c:v>41394</c:v>
                </c:pt>
                <c:pt idx="122">
                  <c:v>41401</c:v>
                </c:pt>
                <c:pt idx="123">
                  <c:v>41408</c:v>
                </c:pt>
                <c:pt idx="124">
                  <c:v>41415</c:v>
                </c:pt>
                <c:pt idx="125">
                  <c:v>41422</c:v>
                </c:pt>
                <c:pt idx="126">
                  <c:v>41429</c:v>
                </c:pt>
                <c:pt idx="127">
                  <c:v>41436</c:v>
                </c:pt>
                <c:pt idx="128">
                  <c:v>41443</c:v>
                </c:pt>
                <c:pt idx="129">
                  <c:v>41450</c:v>
                </c:pt>
                <c:pt idx="130">
                  <c:v>41457</c:v>
                </c:pt>
                <c:pt idx="131">
                  <c:v>41464</c:v>
                </c:pt>
                <c:pt idx="132">
                  <c:v>41471</c:v>
                </c:pt>
                <c:pt idx="133">
                  <c:v>41478</c:v>
                </c:pt>
                <c:pt idx="134">
                  <c:v>41485</c:v>
                </c:pt>
                <c:pt idx="135">
                  <c:v>41492</c:v>
                </c:pt>
                <c:pt idx="136">
                  <c:v>41499</c:v>
                </c:pt>
                <c:pt idx="137">
                  <c:v>41506</c:v>
                </c:pt>
                <c:pt idx="138">
                  <c:v>41513</c:v>
                </c:pt>
                <c:pt idx="139">
                  <c:v>41520</c:v>
                </c:pt>
                <c:pt idx="140">
                  <c:v>41527</c:v>
                </c:pt>
                <c:pt idx="141">
                  <c:v>41534</c:v>
                </c:pt>
                <c:pt idx="142">
                  <c:v>41541</c:v>
                </c:pt>
                <c:pt idx="143">
                  <c:v>41548</c:v>
                </c:pt>
                <c:pt idx="144">
                  <c:v>41555</c:v>
                </c:pt>
                <c:pt idx="145">
                  <c:v>41562</c:v>
                </c:pt>
                <c:pt idx="146">
                  <c:v>41569</c:v>
                </c:pt>
                <c:pt idx="147">
                  <c:v>41576</c:v>
                </c:pt>
                <c:pt idx="148">
                  <c:v>41583</c:v>
                </c:pt>
                <c:pt idx="149">
                  <c:v>41590</c:v>
                </c:pt>
                <c:pt idx="150">
                  <c:v>41597</c:v>
                </c:pt>
                <c:pt idx="151">
                  <c:v>41604</c:v>
                </c:pt>
                <c:pt idx="152">
                  <c:v>41611</c:v>
                </c:pt>
                <c:pt idx="153">
                  <c:v>41618</c:v>
                </c:pt>
                <c:pt idx="154">
                  <c:v>41625</c:v>
                </c:pt>
                <c:pt idx="155">
                  <c:v>41632</c:v>
                </c:pt>
                <c:pt idx="156">
                  <c:v>41639</c:v>
                </c:pt>
                <c:pt idx="157">
                  <c:v>41646</c:v>
                </c:pt>
                <c:pt idx="158">
                  <c:v>41653</c:v>
                </c:pt>
                <c:pt idx="159">
                  <c:v>41660</c:v>
                </c:pt>
                <c:pt idx="160">
                  <c:v>41667</c:v>
                </c:pt>
                <c:pt idx="161">
                  <c:v>41674</c:v>
                </c:pt>
                <c:pt idx="162">
                  <c:v>41681</c:v>
                </c:pt>
                <c:pt idx="163">
                  <c:v>41688</c:v>
                </c:pt>
                <c:pt idx="164">
                  <c:v>41695</c:v>
                </c:pt>
                <c:pt idx="165">
                  <c:v>41702</c:v>
                </c:pt>
                <c:pt idx="166">
                  <c:v>41709</c:v>
                </c:pt>
                <c:pt idx="167">
                  <c:v>41716</c:v>
                </c:pt>
                <c:pt idx="168">
                  <c:v>41723</c:v>
                </c:pt>
                <c:pt idx="169">
                  <c:v>41730</c:v>
                </c:pt>
                <c:pt idx="170">
                  <c:v>41737</c:v>
                </c:pt>
                <c:pt idx="171">
                  <c:v>41744</c:v>
                </c:pt>
                <c:pt idx="172">
                  <c:v>41751</c:v>
                </c:pt>
                <c:pt idx="173">
                  <c:v>41758</c:v>
                </c:pt>
                <c:pt idx="174">
                  <c:v>41765</c:v>
                </c:pt>
                <c:pt idx="175">
                  <c:v>41772</c:v>
                </c:pt>
                <c:pt idx="176">
                  <c:v>41779</c:v>
                </c:pt>
                <c:pt idx="177">
                  <c:v>41786</c:v>
                </c:pt>
                <c:pt idx="178">
                  <c:v>41793</c:v>
                </c:pt>
                <c:pt idx="179">
                  <c:v>41800</c:v>
                </c:pt>
                <c:pt idx="180">
                  <c:v>41807</c:v>
                </c:pt>
                <c:pt idx="181">
                  <c:v>41814</c:v>
                </c:pt>
                <c:pt idx="182">
                  <c:v>41821</c:v>
                </c:pt>
                <c:pt idx="183">
                  <c:v>41828</c:v>
                </c:pt>
                <c:pt idx="184">
                  <c:v>41835</c:v>
                </c:pt>
                <c:pt idx="185">
                  <c:v>41842</c:v>
                </c:pt>
                <c:pt idx="186">
                  <c:v>41849</c:v>
                </c:pt>
                <c:pt idx="187">
                  <c:v>41856</c:v>
                </c:pt>
                <c:pt idx="188">
                  <c:v>41863</c:v>
                </c:pt>
                <c:pt idx="189">
                  <c:v>41870</c:v>
                </c:pt>
                <c:pt idx="190">
                  <c:v>41877</c:v>
                </c:pt>
                <c:pt idx="191">
                  <c:v>41884</c:v>
                </c:pt>
                <c:pt idx="192">
                  <c:v>41891</c:v>
                </c:pt>
                <c:pt idx="193">
                  <c:v>41898</c:v>
                </c:pt>
                <c:pt idx="194">
                  <c:v>41905</c:v>
                </c:pt>
                <c:pt idx="195">
                  <c:v>41912</c:v>
                </c:pt>
                <c:pt idx="196">
                  <c:v>41919</c:v>
                </c:pt>
                <c:pt idx="197">
                  <c:v>41926</c:v>
                </c:pt>
                <c:pt idx="198">
                  <c:v>41933</c:v>
                </c:pt>
                <c:pt idx="199">
                  <c:v>41940</c:v>
                </c:pt>
                <c:pt idx="200">
                  <c:v>41947</c:v>
                </c:pt>
                <c:pt idx="201">
                  <c:v>41954</c:v>
                </c:pt>
                <c:pt idx="202">
                  <c:v>41961</c:v>
                </c:pt>
                <c:pt idx="203">
                  <c:v>41968</c:v>
                </c:pt>
                <c:pt idx="204">
                  <c:v>41975</c:v>
                </c:pt>
                <c:pt idx="205">
                  <c:v>41982</c:v>
                </c:pt>
                <c:pt idx="206">
                  <c:v>41989</c:v>
                </c:pt>
                <c:pt idx="207">
                  <c:v>41996</c:v>
                </c:pt>
                <c:pt idx="208">
                  <c:v>42003</c:v>
                </c:pt>
                <c:pt idx="209">
                  <c:v>42010</c:v>
                </c:pt>
                <c:pt idx="210">
                  <c:v>42017</c:v>
                </c:pt>
                <c:pt idx="211">
                  <c:v>42024</c:v>
                </c:pt>
                <c:pt idx="212">
                  <c:v>42031</c:v>
                </c:pt>
                <c:pt idx="213">
                  <c:v>42038</c:v>
                </c:pt>
                <c:pt idx="214">
                  <c:v>42045</c:v>
                </c:pt>
                <c:pt idx="215">
                  <c:v>42052</c:v>
                </c:pt>
                <c:pt idx="216">
                  <c:v>42059</c:v>
                </c:pt>
                <c:pt idx="217">
                  <c:v>42066</c:v>
                </c:pt>
                <c:pt idx="218">
                  <c:v>42073</c:v>
                </c:pt>
                <c:pt idx="219">
                  <c:v>42080</c:v>
                </c:pt>
                <c:pt idx="220">
                  <c:v>42087</c:v>
                </c:pt>
                <c:pt idx="221">
                  <c:v>42094</c:v>
                </c:pt>
                <c:pt idx="222">
                  <c:v>42101</c:v>
                </c:pt>
                <c:pt idx="223">
                  <c:v>42108</c:v>
                </c:pt>
                <c:pt idx="224">
                  <c:v>42115</c:v>
                </c:pt>
                <c:pt idx="225">
                  <c:v>42122</c:v>
                </c:pt>
                <c:pt idx="226">
                  <c:v>42129</c:v>
                </c:pt>
                <c:pt idx="227">
                  <c:v>42136</c:v>
                </c:pt>
                <c:pt idx="228">
                  <c:v>42143</c:v>
                </c:pt>
                <c:pt idx="229">
                  <c:v>42150</c:v>
                </c:pt>
                <c:pt idx="230">
                  <c:v>42157</c:v>
                </c:pt>
                <c:pt idx="231">
                  <c:v>42164</c:v>
                </c:pt>
                <c:pt idx="232">
                  <c:v>42171</c:v>
                </c:pt>
                <c:pt idx="233">
                  <c:v>42178</c:v>
                </c:pt>
                <c:pt idx="234">
                  <c:v>42185</c:v>
                </c:pt>
                <c:pt idx="235">
                  <c:v>42192</c:v>
                </c:pt>
                <c:pt idx="236">
                  <c:v>42199</c:v>
                </c:pt>
                <c:pt idx="237">
                  <c:v>42206</c:v>
                </c:pt>
                <c:pt idx="238">
                  <c:v>42213</c:v>
                </c:pt>
                <c:pt idx="239">
                  <c:v>42220</c:v>
                </c:pt>
                <c:pt idx="240">
                  <c:v>42227</c:v>
                </c:pt>
                <c:pt idx="241">
                  <c:v>42234</c:v>
                </c:pt>
                <c:pt idx="242">
                  <c:v>42241</c:v>
                </c:pt>
                <c:pt idx="243">
                  <c:v>42248</c:v>
                </c:pt>
                <c:pt idx="244">
                  <c:v>42255</c:v>
                </c:pt>
                <c:pt idx="245">
                  <c:v>42262</c:v>
                </c:pt>
                <c:pt idx="246">
                  <c:v>42269</c:v>
                </c:pt>
                <c:pt idx="247">
                  <c:v>42276</c:v>
                </c:pt>
                <c:pt idx="248">
                  <c:v>42283</c:v>
                </c:pt>
                <c:pt idx="249">
                  <c:v>42290</c:v>
                </c:pt>
                <c:pt idx="250">
                  <c:v>42297</c:v>
                </c:pt>
                <c:pt idx="251">
                  <c:v>42304</c:v>
                </c:pt>
                <c:pt idx="252">
                  <c:v>42311</c:v>
                </c:pt>
                <c:pt idx="253">
                  <c:v>42318</c:v>
                </c:pt>
                <c:pt idx="254">
                  <c:v>42325</c:v>
                </c:pt>
                <c:pt idx="255">
                  <c:v>42332</c:v>
                </c:pt>
                <c:pt idx="256">
                  <c:v>42339</c:v>
                </c:pt>
                <c:pt idx="257">
                  <c:v>42346</c:v>
                </c:pt>
                <c:pt idx="258">
                  <c:v>42353</c:v>
                </c:pt>
                <c:pt idx="259">
                  <c:v>42360</c:v>
                </c:pt>
                <c:pt idx="260">
                  <c:v>42367</c:v>
                </c:pt>
                <c:pt idx="261">
                  <c:v>42374</c:v>
                </c:pt>
                <c:pt idx="262">
                  <c:v>42381</c:v>
                </c:pt>
                <c:pt idx="263">
                  <c:v>42388</c:v>
                </c:pt>
                <c:pt idx="264">
                  <c:v>42395</c:v>
                </c:pt>
                <c:pt idx="265">
                  <c:v>42402</c:v>
                </c:pt>
                <c:pt idx="266">
                  <c:v>42409</c:v>
                </c:pt>
                <c:pt idx="267">
                  <c:v>42416</c:v>
                </c:pt>
                <c:pt idx="268">
                  <c:v>42423</c:v>
                </c:pt>
                <c:pt idx="269">
                  <c:v>42430</c:v>
                </c:pt>
                <c:pt idx="270">
                  <c:v>42437</c:v>
                </c:pt>
                <c:pt idx="271">
                  <c:v>42444</c:v>
                </c:pt>
                <c:pt idx="272">
                  <c:v>42451</c:v>
                </c:pt>
                <c:pt idx="273">
                  <c:v>42458</c:v>
                </c:pt>
                <c:pt idx="274">
                  <c:v>42465</c:v>
                </c:pt>
                <c:pt idx="275">
                  <c:v>42472</c:v>
                </c:pt>
                <c:pt idx="276">
                  <c:v>42479</c:v>
                </c:pt>
                <c:pt idx="277">
                  <c:v>42486</c:v>
                </c:pt>
                <c:pt idx="278">
                  <c:v>42493</c:v>
                </c:pt>
                <c:pt idx="279">
                  <c:v>42500</c:v>
                </c:pt>
                <c:pt idx="280">
                  <c:v>42507</c:v>
                </c:pt>
                <c:pt idx="281">
                  <c:v>42514</c:v>
                </c:pt>
                <c:pt idx="282">
                  <c:v>42521</c:v>
                </c:pt>
                <c:pt idx="283">
                  <c:v>42528</c:v>
                </c:pt>
                <c:pt idx="284">
                  <c:v>42535</c:v>
                </c:pt>
                <c:pt idx="285">
                  <c:v>42542</c:v>
                </c:pt>
                <c:pt idx="286">
                  <c:v>42549</c:v>
                </c:pt>
                <c:pt idx="287">
                  <c:v>42556</c:v>
                </c:pt>
                <c:pt idx="288">
                  <c:v>42563</c:v>
                </c:pt>
                <c:pt idx="289">
                  <c:v>42570</c:v>
                </c:pt>
                <c:pt idx="290">
                  <c:v>42577</c:v>
                </c:pt>
                <c:pt idx="291">
                  <c:v>42584</c:v>
                </c:pt>
                <c:pt idx="292">
                  <c:v>42591</c:v>
                </c:pt>
                <c:pt idx="293">
                  <c:v>42598</c:v>
                </c:pt>
                <c:pt idx="294">
                  <c:v>42605</c:v>
                </c:pt>
                <c:pt idx="295">
                  <c:v>42612</c:v>
                </c:pt>
                <c:pt idx="296">
                  <c:v>42619</c:v>
                </c:pt>
                <c:pt idx="297">
                  <c:v>42626</c:v>
                </c:pt>
                <c:pt idx="298">
                  <c:v>42633</c:v>
                </c:pt>
                <c:pt idx="299">
                  <c:v>42640</c:v>
                </c:pt>
                <c:pt idx="300">
                  <c:v>42647</c:v>
                </c:pt>
                <c:pt idx="301">
                  <c:v>42654</c:v>
                </c:pt>
                <c:pt idx="302">
                  <c:v>42661</c:v>
                </c:pt>
                <c:pt idx="303">
                  <c:v>42668</c:v>
                </c:pt>
                <c:pt idx="304">
                  <c:v>42675</c:v>
                </c:pt>
                <c:pt idx="305">
                  <c:v>42682</c:v>
                </c:pt>
                <c:pt idx="306">
                  <c:v>42689</c:v>
                </c:pt>
                <c:pt idx="307">
                  <c:v>42696</c:v>
                </c:pt>
                <c:pt idx="308">
                  <c:v>42703</c:v>
                </c:pt>
                <c:pt idx="309">
                  <c:v>42710</c:v>
                </c:pt>
                <c:pt idx="310">
                  <c:v>42717</c:v>
                </c:pt>
                <c:pt idx="311">
                  <c:v>42724</c:v>
                </c:pt>
                <c:pt idx="312">
                  <c:v>42731</c:v>
                </c:pt>
                <c:pt idx="313">
                  <c:v>42738</c:v>
                </c:pt>
                <c:pt idx="314">
                  <c:v>42745</c:v>
                </c:pt>
                <c:pt idx="315">
                  <c:v>42752</c:v>
                </c:pt>
                <c:pt idx="316">
                  <c:v>42759</c:v>
                </c:pt>
                <c:pt idx="317">
                  <c:v>42766</c:v>
                </c:pt>
                <c:pt idx="318">
                  <c:v>42773</c:v>
                </c:pt>
                <c:pt idx="319">
                  <c:v>42780</c:v>
                </c:pt>
                <c:pt idx="320">
                  <c:v>42787</c:v>
                </c:pt>
                <c:pt idx="321">
                  <c:v>42794</c:v>
                </c:pt>
                <c:pt idx="322">
                  <c:v>42801</c:v>
                </c:pt>
                <c:pt idx="323">
                  <c:v>42808</c:v>
                </c:pt>
                <c:pt idx="324">
                  <c:v>42815</c:v>
                </c:pt>
                <c:pt idx="325">
                  <c:v>42822</c:v>
                </c:pt>
                <c:pt idx="326">
                  <c:v>42829</c:v>
                </c:pt>
                <c:pt idx="327">
                  <c:v>42836</c:v>
                </c:pt>
                <c:pt idx="328">
                  <c:v>42843</c:v>
                </c:pt>
                <c:pt idx="329">
                  <c:v>42850</c:v>
                </c:pt>
                <c:pt idx="330">
                  <c:v>42857</c:v>
                </c:pt>
                <c:pt idx="331">
                  <c:v>42864</c:v>
                </c:pt>
                <c:pt idx="332">
                  <c:v>42871</c:v>
                </c:pt>
                <c:pt idx="333">
                  <c:v>42878</c:v>
                </c:pt>
                <c:pt idx="334">
                  <c:v>42885</c:v>
                </c:pt>
                <c:pt idx="335">
                  <c:v>42892</c:v>
                </c:pt>
                <c:pt idx="336">
                  <c:v>42899</c:v>
                </c:pt>
                <c:pt idx="337">
                  <c:v>42906</c:v>
                </c:pt>
                <c:pt idx="338">
                  <c:v>42913</c:v>
                </c:pt>
                <c:pt idx="339">
                  <c:v>42920</c:v>
                </c:pt>
                <c:pt idx="340">
                  <c:v>42927</c:v>
                </c:pt>
                <c:pt idx="341">
                  <c:v>42934</c:v>
                </c:pt>
                <c:pt idx="342">
                  <c:v>42941</c:v>
                </c:pt>
                <c:pt idx="343">
                  <c:v>42948</c:v>
                </c:pt>
                <c:pt idx="344">
                  <c:v>42955</c:v>
                </c:pt>
                <c:pt idx="345">
                  <c:v>42962</c:v>
                </c:pt>
                <c:pt idx="346">
                  <c:v>42969</c:v>
                </c:pt>
                <c:pt idx="347">
                  <c:v>42976</c:v>
                </c:pt>
                <c:pt idx="348">
                  <c:v>42983</c:v>
                </c:pt>
                <c:pt idx="349">
                  <c:v>42990</c:v>
                </c:pt>
                <c:pt idx="350">
                  <c:v>42997</c:v>
                </c:pt>
                <c:pt idx="351">
                  <c:v>43004</c:v>
                </c:pt>
                <c:pt idx="352">
                  <c:v>43011</c:v>
                </c:pt>
                <c:pt idx="353">
                  <c:v>43018</c:v>
                </c:pt>
                <c:pt idx="354">
                  <c:v>43025</c:v>
                </c:pt>
                <c:pt idx="355">
                  <c:v>43032</c:v>
                </c:pt>
                <c:pt idx="356">
                  <c:v>43039</c:v>
                </c:pt>
                <c:pt idx="357">
                  <c:v>43046</c:v>
                </c:pt>
                <c:pt idx="358">
                  <c:v>43053</c:v>
                </c:pt>
                <c:pt idx="359">
                  <c:v>43060</c:v>
                </c:pt>
                <c:pt idx="360">
                  <c:v>43067</c:v>
                </c:pt>
                <c:pt idx="361">
                  <c:v>43074</c:v>
                </c:pt>
                <c:pt idx="362">
                  <c:v>43081</c:v>
                </c:pt>
                <c:pt idx="363">
                  <c:v>43088</c:v>
                </c:pt>
                <c:pt idx="364">
                  <c:v>43095</c:v>
                </c:pt>
                <c:pt idx="365">
                  <c:v>43102</c:v>
                </c:pt>
                <c:pt idx="366">
                  <c:v>43109</c:v>
                </c:pt>
                <c:pt idx="367">
                  <c:v>43116</c:v>
                </c:pt>
                <c:pt idx="368">
                  <c:v>43123</c:v>
                </c:pt>
                <c:pt idx="369">
                  <c:v>43130</c:v>
                </c:pt>
                <c:pt idx="370">
                  <c:v>43137</c:v>
                </c:pt>
                <c:pt idx="371">
                  <c:v>43144</c:v>
                </c:pt>
                <c:pt idx="372">
                  <c:v>43151</c:v>
                </c:pt>
                <c:pt idx="373">
                  <c:v>43158</c:v>
                </c:pt>
                <c:pt idx="374">
                  <c:v>43165</c:v>
                </c:pt>
                <c:pt idx="375">
                  <c:v>43172</c:v>
                </c:pt>
                <c:pt idx="376">
                  <c:v>43179</c:v>
                </c:pt>
                <c:pt idx="377">
                  <c:v>43186</c:v>
                </c:pt>
                <c:pt idx="378">
                  <c:v>43193</c:v>
                </c:pt>
                <c:pt idx="379">
                  <c:v>43200</c:v>
                </c:pt>
                <c:pt idx="380">
                  <c:v>43207</c:v>
                </c:pt>
                <c:pt idx="381">
                  <c:v>43214</c:v>
                </c:pt>
                <c:pt idx="382">
                  <c:v>43221</c:v>
                </c:pt>
                <c:pt idx="383">
                  <c:v>43228</c:v>
                </c:pt>
                <c:pt idx="384">
                  <c:v>43235</c:v>
                </c:pt>
                <c:pt idx="385">
                  <c:v>43242</c:v>
                </c:pt>
                <c:pt idx="386">
                  <c:v>43249</c:v>
                </c:pt>
                <c:pt idx="387">
                  <c:v>43256</c:v>
                </c:pt>
                <c:pt idx="388">
                  <c:v>43263</c:v>
                </c:pt>
                <c:pt idx="389">
                  <c:v>43270</c:v>
                </c:pt>
                <c:pt idx="390">
                  <c:v>43277</c:v>
                </c:pt>
                <c:pt idx="391">
                  <c:v>43284</c:v>
                </c:pt>
                <c:pt idx="392">
                  <c:v>43291</c:v>
                </c:pt>
                <c:pt idx="393">
                  <c:v>43298</c:v>
                </c:pt>
                <c:pt idx="394">
                  <c:v>43305</c:v>
                </c:pt>
                <c:pt idx="395">
                  <c:v>43312</c:v>
                </c:pt>
                <c:pt idx="396">
                  <c:v>43319</c:v>
                </c:pt>
                <c:pt idx="397">
                  <c:v>43326</c:v>
                </c:pt>
                <c:pt idx="398">
                  <c:v>43333</c:v>
                </c:pt>
                <c:pt idx="399">
                  <c:v>43340</c:v>
                </c:pt>
                <c:pt idx="400">
                  <c:v>43347</c:v>
                </c:pt>
                <c:pt idx="401">
                  <c:v>43354</c:v>
                </c:pt>
                <c:pt idx="402">
                  <c:v>43361</c:v>
                </c:pt>
                <c:pt idx="403">
                  <c:v>43368</c:v>
                </c:pt>
                <c:pt idx="404">
                  <c:v>43375</c:v>
                </c:pt>
                <c:pt idx="405">
                  <c:v>43382</c:v>
                </c:pt>
                <c:pt idx="406">
                  <c:v>43389</c:v>
                </c:pt>
                <c:pt idx="407">
                  <c:v>43396</c:v>
                </c:pt>
                <c:pt idx="408">
                  <c:v>43403</c:v>
                </c:pt>
                <c:pt idx="409">
                  <c:v>43410</c:v>
                </c:pt>
                <c:pt idx="410">
                  <c:v>43417</c:v>
                </c:pt>
                <c:pt idx="411">
                  <c:v>43424</c:v>
                </c:pt>
                <c:pt idx="412">
                  <c:v>43431</c:v>
                </c:pt>
                <c:pt idx="413">
                  <c:v>43438</c:v>
                </c:pt>
                <c:pt idx="414">
                  <c:v>43445</c:v>
                </c:pt>
                <c:pt idx="415">
                  <c:v>43452</c:v>
                </c:pt>
                <c:pt idx="416">
                  <c:v>43459</c:v>
                </c:pt>
                <c:pt idx="417">
                  <c:v>43466</c:v>
                </c:pt>
                <c:pt idx="418">
                  <c:v>43473</c:v>
                </c:pt>
                <c:pt idx="419">
                  <c:v>43480</c:v>
                </c:pt>
                <c:pt idx="420">
                  <c:v>43487</c:v>
                </c:pt>
                <c:pt idx="421">
                  <c:v>43494</c:v>
                </c:pt>
                <c:pt idx="422">
                  <c:v>43501</c:v>
                </c:pt>
                <c:pt idx="423">
                  <c:v>43508</c:v>
                </c:pt>
                <c:pt idx="424">
                  <c:v>43515</c:v>
                </c:pt>
                <c:pt idx="425">
                  <c:v>43522</c:v>
                </c:pt>
                <c:pt idx="426">
                  <c:v>43529</c:v>
                </c:pt>
                <c:pt idx="427">
                  <c:v>43536</c:v>
                </c:pt>
                <c:pt idx="428">
                  <c:v>43543</c:v>
                </c:pt>
                <c:pt idx="429">
                  <c:v>43550</c:v>
                </c:pt>
                <c:pt idx="430">
                  <c:v>43557</c:v>
                </c:pt>
                <c:pt idx="431">
                  <c:v>43564</c:v>
                </c:pt>
                <c:pt idx="432">
                  <c:v>43571</c:v>
                </c:pt>
                <c:pt idx="433">
                  <c:v>43578</c:v>
                </c:pt>
                <c:pt idx="434">
                  <c:v>43585</c:v>
                </c:pt>
                <c:pt idx="435">
                  <c:v>43592</c:v>
                </c:pt>
                <c:pt idx="436">
                  <c:v>43599</c:v>
                </c:pt>
                <c:pt idx="437">
                  <c:v>43606</c:v>
                </c:pt>
                <c:pt idx="438">
                  <c:v>43613</c:v>
                </c:pt>
                <c:pt idx="439">
                  <c:v>43620</c:v>
                </c:pt>
                <c:pt idx="440">
                  <c:v>43627</c:v>
                </c:pt>
                <c:pt idx="441">
                  <c:v>43634</c:v>
                </c:pt>
                <c:pt idx="442">
                  <c:v>43641</c:v>
                </c:pt>
                <c:pt idx="443">
                  <c:v>43648</c:v>
                </c:pt>
                <c:pt idx="444">
                  <c:v>43655</c:v>
                </c:pt>
                <c:pt idx="445">
                  <c:v>43662</c:v>
                </c:pt>
                <c:pt idx="446">
                  <c:v>43669</c:v>
                </c:pt>
                <c:pt idx="447">
                  <c:v>43676</c:v>
                </c:pt>
                <c:pt idx="448">
                  <c:v>43683</c:v>
                </c:pt>
                <c:pt idx="449">
                  <c:v>43690</c:v>
                </c:pt>
                <c:pt idx="450">
                  <c:v>43697</c:v>
                </c:pt>
                <c:pt idx="451">
                  <c:v>43704</c:v>
                </c:pt>
                <c:pt idx="452">
                  <c:v>43711</c:v>
                </c:pt>
                <c:pt idx="453">
                  <c:v>43718</c:v>
                </c:pt>
                <c:pt idx="454">
                  <c:v>43725</c:v>
                </c:pt>
                <c:pt idx="455">
                  <c:v>43732</c:v>
                </c:pt>
                <c:pt idx="456">
                  <c:v>43739</c:v>
                </c:pt>
                <c:pt idx="457">
                  <c:v>43746</c:v>
                </c:pt>
                <c:pt idx="458">
                  <c:v>43753</c:v>
                </c:pt>
                <c:pt idx="459">
                  <c:v>43760</c:v>
                </c:pt>
                <c:pt idx="460">
                  <c:v>43767</c:v>
                </c:pt>
                <c:pt idx="461">
                  <c:v>43774</c:v>
                </c:pt>
                <c:pt idx="462">
                  <c:v>43781</c:v>
                </c:pt>
                <c:pt idx="463">
                  <c:v>43788</c:v>
                </c:pt>
                <c:pt idx="464">
                  <c:v>43795</c:v>
                </c:pt>
                <c:pt idx="465">
                  <c:v>43802</c:v>
                </c:pt>
                <c:pt idx="466">
                  <c:v>43809</c:v>
                </c:pt>
                <c:pt idx="467">
                  <c:v>43816</c:v>
                </c:pt>
                <c:pt idx="468">
                  <c:v>43823</c:v>
                </c:pt>
                <c:pt idx="469">
                  <c:v>43830</c:v>
                </c:pt>
                <c:pt idx="470">
                  <c:v>43837</c:v>
                </c:pt>
                <c:pt idx="471">
                  <c:v>43844</c:v>
                </c:pt>
                <c:pt idx="472">
                  <c:v>43851</c:v>
                </c:pt>
                <c:pt idx="473">
                  <c:v>43858</c:v>
                </c:pt>
                <c:pt idx="474">
                  <c:v>43865</c:v>
                </c:pt>
                <c:pt idx="475">
                  <c:v>43872</c:v>
                </c:pt>
                <c:pt idx="476">
                  <c:v>43879</c:v>
                </c:pt>
                <c:pt idx="477">
                  <c:v>43886</c:v>
                </c:pt>
                <c:pt idx="478">
                  <c:v>43893</c:v>
                </c:pt>
                <c:pt idx="479">
                  <c:v>43900</c:v>
                </c:pt>
                <c:pt idx="480">
                  <c:v>43907</c:v>
                </c:pt>
                <c:pt idx="481">
                  <c:v>43914</c:v>
                </c:pt>
                <c:pt idx="482">
                  <c:v>43921</c:v>
                </c:pt>
                <c:pt idx="483">
                  <c:v>43928</c:v>
                </c:pt>
                <c:pt idx="484">
                  <c:v>43935</c:v>
                </c:pt>
                <c:pt idx="485">
                  <c:v>43942</c:v>
                </c:pt>
                <c:pt idx="486">
                  <c:v>43949</c:v>
                </c:pt>
                <c:pt idx="487">
                  <c:v>43956</c:v>
                </c:pt>
                <c:pt idx="488">
                  <c:v>43963</c:v>
                </c:pt>
                <c:pt idx="489">
                  <c:v>43970</c:v>
                </c:pt>
                <c:pt idx="490">
                  <c:v>43977</c:v>
                </c:pt>
                <c:pt idx="491">
                  <c:v>43984</c:v>
                </c:pt>
                <c:pt idx="492">
                  <c:v>43991</c:v>
                </c:pt>
                <c:pt idx="493">
                  <c:v>43998</c:v>
                </c:pt>
                <c:pt idx="494">
                  <c:v>44005</c:v>
                </c:pt>
                <c:pt idx="495">
                  <c:v>44012</c:v>
                </c:pt>
                <c:pt idx="496">
                  <c:v>44019</c:v>
                </c:pt>
                <c:pt idx="497">
                  <c:v>44026</c:v>
                </c:pt>
                <c:pt idx="498">
                  <c:v>44033</c:v>
                </c:pt>
                <c:pt idx="499">
                  <c:v>44040</c:v>
                </c:pt>
                <c:pt idx="500">
                  <c:v>44047</c:v>
                </c:pt>
                <c:pt idx="501">
                  <c:v>44054</c:v>
                </c:pt>
                <c:pt idx="502">
                  <c:v>44061</c:v>
                </c:pt>
                <c:pt idx="503">
                  <c:v>44068</c:v>
                </c:pt>
                <c:pt idx="504">
                  <c:v>44075</c:v>
                </c:pt>
                <c:pt idx="505">
                  <c:v>44082</c:v>
                </c:pt>
                <c:pt idx="506">
                  <c:v>44089</c:v>
                </c:pt>
                <c:pt idx="507">
                  <c:v>44096</c:v>
                </c:pt>
                <c:pt idx="508">
                  <c:v>44103</c:v>
                </c:pt>
                <c:pt idx="509">
                  <c:v>44110</c:v>
                </c:pt>
                <c:pt idx="510">
                  <c:v>44117</c:v>
                </c:pt>
                <c:pt idx="511">
                  <c:v>44124</c:v>
                </c:pt>
                <c:pt idx="512">
                  <c:v>44131</c:v>
                </c:pt>
                <c:pt idx="513">
                  <c:v>44138</c:v>
                </c:pt>
                <c:pt idx="514">
                  <c:v>44145</c:v>
                </c:pt>
                <c:pt idx="515">
                  <c:v>44152</c:v>
                </c:pt>
                <c:pt idx="516">
                  <c:v>44159</c:v>
                </c:pt>
                <c:pt idx="517">
                  <c:v>44166</c:v>
                </c:pt>
                <c:pt idx="518">
                  <c:v>44173</c:v>
                </c:pt>
                <c:pt idx="519">
                  <c:v>44180</c:v>
                </c:pt>
                <c:pt idx="520">
                  <c:v>44187</c:v>
                </c:pt>
                <c:pt idx="521">
                  <c:v>44194</c:v>
                </c:pt>
                <c:pt idx="522">
                  <c:v>44201</c:v>
                </c:pt>
                <c:pt idx="523">
                  <c:v>44208</c:v>
                </c:pt>
                <c:pt idx="524">
                  <c:v>44215</c:v>
                </c:pt>
                <c:pt idx="525">
                  <c:v>44222</c:v>
                </c:pt>
                <c:pt idx="526">
                  <c:v>44229</c:v>
                </c:pt>
                <c:pt idx="527">
                  <c:v>44236</c:v>
                </c:pt>
                <c:pt idx="528">
                  <c:v>44243</c:v>
                </c:pt>
                <c:pt idx="529">
                  <c:v>44250</c:v>
                </c:pt>
                <c:pt idx="530">
                  <c:v>44257</c:v>
                </c:pt>
                <c:pt idx="531">
                  <c:v>44264</c:v>
                </c:pt>
                <c:pt idx="532">
                  <c:v>44271</c:v>
                </c:pt>
                <c:pt idx="533">
                  <c:v>44278</c:v>
                </c:pt>
                <c:pt idx="534">
                  <c:v>44285</c:v>
                </c:pt>
                <c:pt idx="535">
                  <c:v>44292</c:v>
                </c:pt>
                <c:pt idx="536">
                  <c:v>44299</c:v>
                </c:pt>
                <c:pt idx="537">
                  <c:v>44306</c:v>
                </c:pt>
                <c:pt idx="538">
                  <c:v>44313</c:v>
                </c:pt>
                <c:pt idx="539">
                  <c:v>44320</c:v>
                </c:pt>
                <c:pt idx="540">
                  <c:v>44327</c:v>
                </c:pt>
                <c:pt idx="541">
                  <c:v>44334</c:v>
                </c:pt>
                <c:pt idx="542">
                  <c:v>44341</c:v>
                </c:pt>
                <c:pt idx="543">
                  <c:v>44348</c:v>
                </c:pt>
                <c:pt idx="544">
                  <c:v>44355</c:v>
                </c:pt>
                <c:pt idx="545">
                  <c:v>44362</c:v>
                </c:pt>
                <c:pt idx="546">
                  <c:v>44369</c:v>
                </c:pt>
                <c:pt idx="547">
                  <c:v>44376</c:v>
                </c:pt>
                <c:pt idx="548">
                  <c:v>44383</c:v>
                </c:pt>
                <c:pt idx="549">
                  <c:v>44390</c:v>
                </c:pt>
                <c:pt idx="550">
                  <c:v>44397</c:v>
                </c:pt>
                <c:pt idx="551">
                  <c:v>44404</c:v>
                </c:pt>
                <c:pt idx="552">
                  <c:v>44411</c:v>
                </c:pt>
                <c:pt idx="553">
                  <c:v>44418</c:v>
                </c:pt>
                <c:pt idx="554">
                  <c:v>44425</c:v>
                </c:pt>
                <c:pt idx="555">
                  <c:v>44432</c:v>
                </c:pt>
                <c:pt idx="556">
                  <c:v>44439</c:v>
                </c:pt>
                <c:pt idx="557">
                  <c:v>44446</c:v>
                </c:pt>
                <c:pt idx="558">
                  <c:v>44453</c:v>
                </c:pt>
                <c:pt idx="559">
                  <c:v>44460</c:v>
                </c:pt>
                <c:pt idx="560">
                  <c:v>44467</c:v>
                </c:pt>
                <c:pt idx="561">
                  <c:v>44474</c:v>
                </c:pt>
                <c:pt idx="562">
                  <c:v>44481</c:v>
                </c:pt>
                <c:pt idx="563">
                  <c:v>44488</c:v>
                </c:pt>
                <c:pt idx="564">
                  <c:v>44495</c:v>
                </c:pt>
                <c:pt idx="565">
                  <c:v>44502</c:v>
                </c:pt>
                <c:pt idx="566">
                  <c:v>44509</c:v>
                </c:pt>
                <c:pt idx="567">
                  <c:v>44516</c:v>
                </c:pt>
                <c:pt idx="568">
                  <c:v>44523</c:v>
                </c:pt>
                <c:pt idx="569">
                  <c:v>44530</c:v>
                </c:pt>
                <c:pt idx="570">
                  <c:v>44537</c:v>
                </c:pt>
                <c:pt idx="571">
                  <c:v>44544</c:v>
                </c:pt>
                <c:pt idx="572">
                  <c:v>44551</c:v>
                </c:pt>
                <c:pt idx="573">
                  <c:v>44558</c:v>
                </c:pt>
                <c:pt idx="574">
                  <c:v>44565</c:v>
                </c:pt>
                <c:pt idx="575">
                  <c:v>44572</c:v>
                </c:pt>
                <c:pt idx="576">
                  <c:v>44579</c:v>
                </c:pt>
                <c:pt idx="577">
                  <c:v>44586</c:v>
                </c:pt>
                <c:pt idx="578">
                  <c:v>44593</c:v>
                </c:pt>
                <c:pt idx="579">
                  <c:v>44600</c:v>
                </c:pt>
                <c:pt idx="580">
                  <c:v>44607</c:v>
                </c:pt>
                <c:pt idx="581">
                  <c:v>44614</c:v>
                </c:pt>
                <c:pt idx="582">
                  <c:v>44621</c:v>
                </c:pt>
                <c:pt idx="583">
                  <c:v>44628</c:v>
                </c:pt>
                <c:pt idx="584">
                  <c:v>44635</c:v>
                </c:pt>
                <c:pt idx="585">
                  <c:v>44642</c:v>
                </c:pt>
                <c:pt idx="586">
                  <c:v>44649</c:v>
                </c:pt>
                <c:pt idx="587">
                  <c:v>44656</c:v>
                </c:pt>
                <c:pt idx="588">
                  <c:v>44663</c:v>
                </c:pt>
                <c:pt idx="589">
                  <c:v>44670</c:v>
                </c:pt>
                <c:pt idx="590">
                  <c:v>44677</c:v>
                </c:pt>
                <c:pt idx="591">
                  <c:v>44684</c:v>
                </c:pt>
                <c:pt idx="592">
                  <c:v>44691</c:v>
                </c:pt>
                <c:pt idx="593">
                  <c:v>44698</c:v>
                </c:pt>
                <c:pt idx="594">
                  <c:v>44705</c:v>
                </c:pt>
                <c:pt idx="595">
                  <c:v>44712</c:v>
                </c:pt>
                <c:pt idx="596">
                  <c:v>44719</c:v>
                </c:pt>
                <c:pt idx="597">
                  <c:v>44726</c:v>
                </c:pt>
                <c:pt idx="598">
                  <c:v>44733</c:v>
                </c:pt>
                <c:pt idx="599">
                  <c:v>44740</c:v>
                </c:pt>
                <c:pt idx="600">
                  <c:v>44747</c:v>
                </c:pt>
                <c:pt idx="601">
                  <c:v>44754</c:v>
                </c:pt>
                <c:pt idx="602">
                  <c:v>44761</c:v>
                </c:pt>
                <c:pt idx="603">
                  <c:v>44768</c:v>
                </c:pt>
                <c:pt idx="604">
                  <c:v>44775</c:v>
                </c:pt>
                <c:pt idx="605">
                  <c:v>44782</c:v>
                </c:pt>
                <c:pt idx="606">
                  <c:v>44789</c:v>
                </c:pt>
                <c:pt idx="607">
                  <c:v>44796</c:v>
                </c:pt>
                <c:pt idx="608">
                  <c:v>44803</c:v>
                </c:pt>
                <c:pt idx="609">
                  <c:v>44810</c:v>
                </c:pt>
                <c:pt idx="610">
                  <c:v>44817</c:v>
                </c:pt>
                <c:pt idx="611">
                  <c:v>44824</c:v>
                </c:pt>
                <c:pt idx="612">
                  <c:v>44831</c:v>
                </c:pt>
                <c:pt idx="613">
                  <c:v>44838</c:v>
                </c:pt>
                <c:pt idx="614">
                  <c:v>44845</c:v>
                </c:pt>
                <c:pt idx="615">
                  <c:v>44852</c:v>
                </c:pt>
                <c:pt idx="616">
                  <c:v>44859</c:v>
                </c:pt>
                <c:pt idx="617">
                  <c:v>44866</c:v>
                </c:pt>
                <c:pt idx="618">
                  <c:v>44873</c:v>
                </c:pt>
                <c:pt idx="619">
                  <c:v>44880</c:v>
                </c:pt>
                <c:pt idx="620">
                  <c:v>44887</c:v>
                </c:pt>
                <c:pt idx="621">
                  <c:v>44894</c:v>
                </c:pt>
                <c:pt idx="622">
                  <c:v>44901</c:v>
                </c:pt>
                <c:pt idx="623">
                  <c:v>44908</c:v>
                </c:pt>
                <c:pt idx="624">
                  <c:v>44915</c:v>
                </c:pt>
                <c:pt idx="625">
                  <c:v>44922</c:v>
                </c:pt>
                <c:pt idx="626">
                  <c:v>44929</c:v>
                </c:pt>
                <c:pt idx="627">
                  <c:v>44936</c:v>
                </c:pt>
                <c:pt idx="628">
                  <c:v>44943</c:v>
                </c:pt>
                <c:pt idx="629">
                  <c:v>44950</c:v>
                </c:pt>
                <c:pt idx="630">
                  <c:v>44957</c:v>
                </c:pt>
                <c:pt idx="631">
                  <c:v>44964</c:v>
                </c:pt>
                <c:pt idx="632">
                  <c:v>44971</c:v>
                </c:pt>
                <c:pt idx="633">
                  <c:v>44978</c:v>
                </c:pt>
                <c:pt idx="634">
                  <c:v>44985</c:v>
                </c:pt>
                <c:pt idx="635">
                  <c:v>44992</c:v>
                </c:pt>
                <c:pt idx="636">
                  <c:v>44999</c:v>
                </c:pt>
                <c:pt idx="637">
                  <c:v>45006</c:v>
                </c:pt>
                <c:pt idx="638">
                  <c:v>45013</c:v>
                </c:pt>
                <c:pt idx="639">
                  <c:v>45020</c:v>
                </c:pt>
                <c:pt idx="640">
                  <c:v>45027</c:v>
                </c:pt>
                <c:pt idx="641">
                  <c:v>45034</c:v>
                </c:pt>
                <c:pt idx="642">
                  <c:v>45041</c:v>
                </c:pt>
                <c:pt idx="643">
                  <c:v>45048</c:v>
                </c:pt>
                <c:pt idx="644">
                  <c:v>45055</c:v>
                </c:pt>
                <c:pt idx="645">
                  <c:v>45062</c:v>
                </c:pt>
                <c:pt idx="646">
                  <c:v>45069</c:v>
                </c:pt>
                <c:pt idx="647">
                  <c:v>45076</c:v>
                </c:pt>
                <c:pt idx="648">
                  <c:v>45083</c:v>
                </c:pt>
                <c:pt idx="649">
                  <c:v>45090</c:v>
                </c:pt>
                <c:pt idx="650">
                  <c:v>45097</c:v>
                </c:pt>
                <c:pt idx="651">
                  <c:v>45104</c:v>
                </c:pt>
                <c:pt idx="652">
                  <c:v>45111</c:v>
                </c:pt>
                <c:pt idx="653">
                  <c:v>45118</c:v>
                </c:pt>
                <c:pt idx="654">
                  <c:v>45125</c:v>
                </c:pt>
                <c:pt idx="655">
                  <c:v>45132</c:v>
                </c:pt>
                <c:pt idx="656">
                  <c:v>45139</c:v>
                </c:pt>
                <c:pt idx="657">
                  <c:v>45146</c:v>
                </c:pt>
                <c:pt idx="658">
                  <c:v>45153</c:v>
                </c:pt>
                <c:pt idx="659">
                  <c:v>45160</c:v>
                </c:pt>
                <c:pt idx="660">
                  <c:v>45167</c:v>
                </c:pt>
                <c:pt idx="661">
                  <c:v>45174</c:v>
                </c:pt>
                <c:pt idx="662">
                  <c:v>45181</c:v>
                </c:pt>
                <c:pt idx="663">
                  <c:v>45188</c:v>
                </c:pt>
                <c:pt idx="664">
                  <c:v>45195</c:v>
                </c:pt>
                <c:pt idx="665">
                  <c:v>45202</c:v>
                </c:pt>
                <c:pt idx="666">
                  <c:v>45209</c:v>
                </c:pt>
                <c:pt idx="667">
                  <c:v>45216</c:v>
                </c:pt>
                <c:pt idx="668">
                  <c:v>45223</c:v>
                </c:pt>
                <c:pt idx="669">
                  <c:v>45230</c:v>
                </c:pt>
                <c:pt idx="670">
                  <c:v>45237</c:v>
                </c:pt>
                <c:pt idx="671">
                  <c:v>45244</c:v>
                </c:pt>
                <c:pt idx="672">
                  <c:v>45251</c:v>
                </c:pt>
                <c:pt idx="673">
                  <c:v>45258</c:v>
                </c:pt>
                <c:pt idx="674">
                  <c:v>45265</c:v>
                </c:pt>
                <c:pt idx="675">
                  <c:v>45272</c:v>
                </c:pt>
                <c:pt idx="676">
                  <c:v>45279</c:v>
                </c:pt>
                <c:pt idx="677">
                  <c:v>45286</c:v>
                </c:pt>
                <c:pt idx="678">
                  <c:v>45293</c:v>
                </c:pt>
                <c:pt idx="679">
                  <c:v>45300</c:v>
                </c:pt>
                <c:pt idx="680">
                  <c:v>45307</c:v>
                </c:pt>
                <c:pt idx="681">
                  <c:v>45314</c:v>
                </c:pt>
                <c:pt idx="682">
                  <c:v>45321</c:v>
                </c:pt>
                <c:pt idx="683">
                  <c:v>45328</c:v>
                </c:pt>
                <c:pt idx="684">
                  <c:v>45335</c:v>
                </c:pt>
                <c:pt idx="685">
                  <c:v>45342</c:v>
                </c:pt>
                <c:pt idx="686">
                  <c:v>45349</c:v>
                </c:pt>
                <c:pt idx="687">
                  <c:v>45356</c:v>
                </c:pt>
                <c:pt idx="688">
                  <c:v>45363</c:v>
                </c:pt>
                <c:pt idx="689">
                  <c:v>45370</c:v>
                </c:pt>
                <c:pt idx="690">
                  <c:v>45377</c:v>
                </c:pt>
                <c:pt idx="691">
                  <c:v>45384</c:v>
                </c:pt>
                <c:pt idx="692">
                  <c:v>45391</c:v>
                </c:pt>
                <c:pt idx="693">
                  <c:v>45398</c:v>
                </c:pt>
                <c:pt idx="694">
                  <c:v>45405</c:v>
                </c:pt>
                <c:pt idx="695">
                  <c:v>45412</c:v>
                </c:pt>
                <c:pt idx="696">
                  <c:v>45419</c:v>
                </c:pt>
                <c:pt idx="697">
                  <c:v>45426</c:v>
                </c:pt>
                <c:pt idx="698">
                  <c:v>45433</c:v>
                </c:pt>
                <c:pt idx="699">
                  <c:v>45440</c:v>
                </c:pt>
                <c:pt idx="700">
                  <c:v>45447</c:v>
                </c:pt>
                <c:pt idx="701">
                  <c:v>45454</c:v>
                </c:pt>
                <c:pt idx="702">
                  <c:v>45461</c:v>
                </c:pt>
                <c:pt idx="703">
                  <c:v>45468</c:v>
                </c:pt>
                <c:pt idx="704">
                  <c:v>45475</c:v>
                </c:pt>
                <c:pt idx="705">
                  <c:v>45482</c:v>
                </c:pt>
                <c:pt idx="706">
                  <c:v>45489</c:v>
                </c:pt>
                <c:pt idx="707">
                  <c:v>45496</c:v>
                </c:pt>
                <c:pt idx="708">
                  <c:v>45503</c:v>
                </c:pt>
                <c:pt idx="709">
                  <c:v>45510</c:v>
                </c:pt>
                <c:pt idx="710">
                  <c:v>45517</c:v>
                </c:pt>
                <c:pt idx="711">
                  <c:v>45524</c:v>
                </c:pt>
                <c:pt idx="712">
                  <c:v>45531</c:v>
                </c:pt>
                <c:pt idx="713">
                  <c:v>45538</c:v>
                </c:pt>
                <c:pt idx="714">
                  <c:v>45545</c:v>
                </c:pt>
                <c:pt idx="715">
                  <c:v>45552</c:v>
                </c:pt>
                <c:pt idx="716">
                  <c:v>45559</c:v>
                </c:pt>
                <c:pt idx="717">
                  <c:v>45566</c:v>
                </c:pt>
                <c:pt idx="718">
                  <c:v>45573</c:v>
                </c:pt>
                <c:pt idx="719">
                  <c:v>45580</c:v>
                </c:pt>
                <c:pt idx="720">
                  <c:v>45587</c:v>
                </c:pt>
                <c:pt idx="721">
                  <c:v>45594</c:v>
                </c:pt>
                <c:pt idx="722">
                  <c:v>45601</c:v>
                </c:pt>
                <c:pt idx="723">
                  <c:v>45608</c:v>
                </c:pt>
                <c:pt idx="724">
                  <c:v>45615</c:v>
                </c:pt>
                <c:pt idx="725">
                  <c:v>45622</c:v>
                </c:pt>
                <c:pt idx="726">
                  <c:v>45629</c:v>
                </c:pt>
                <c:pt idx="727">
                  <c:v>45636</c:v>
                </c:pt>
                <c:pt idx="728">
                  <c:v>45643</c:v>
                </c:pt>
                <c:pt idx="729">
                  <c:v>45650</c:v>
                </c:pt>
                <c:pt idx="730">
                  <c:v>45657</c:v>
                </c:pt>
                <c:pt idx="731">
                  <c:v>45664</c:v>
                </c:pt>
                <c:pt idx="732">
                  <c:v>45671</c:v>
                </c:pt>
                <c:pt idx="733">
                  <c:v>45678</c:v>
                </c:pt>
                <c:pt idx="734">
                  <c:v>45685</c:v>
                </c:pt>
                <c:pt idx="735">
                  <c:v>45692</c:v>
                </c:pt>
                <c:pt idx="736">
                  <c:v>45699</c:v>
                </c:pt>
                <c:pt idx="737">
                  <c:v>45706</c:v>
                </c:pt>
                <c:pt idx="738">
                  <c:v>45713</c:v>
                </c:pt>
                <c:pt idx="739">
                  <c:v>45720</c:v>
                </c:pt>
                <c:pt idx="740">
                  <c:v>45727</c:v>
                </c:pt>
                <c:pt idx="741">
                  <c:v>45734</c:v>
                </c:pt>
                <c:pt idx="742">
                  <c:v>45741</c:v>
                </c:pt>
                <c:pt idx="743">
                  <c:v>45748</c:v>
                </c:pt>
                <c:pt idx="744">
                  <c:v>45755</c:v>
                </c:pt>
                <c:pt idx="745">
                  <c:v>45762</c:v>
                </c:pt>
                <c:pt idx="746">
                  <c:v>45769</c:v>
                </c:pt>
                <c:pt idx="747">
                  <c:v>45776</c:v>
                </c:pt>
                <c:pt idx="748">
                  <c:v>45783</c:v>
                </c:pt>
                <c:pt idx="749">
                  <c:v>45790</c:v>
                </c:pt>
                <c:pt idx="750">
                  <c:v>45797</c:v>
                </c:pt>
                <c:pt idx="751">
                  <c:v>45804</c:v>
                </c:pt>
                <c:pt idx="752">
                  <c:v>45811</c:v>
                </c:pt>
                <c:pt idx="753">
                  <c:v>45818</c:v>
                </c:pt>
                <c:pt idx="754">
                  <c:v>45825</c:v>
                </c:pt>
                <c:pt idx="755">
                  <c:v>45832</c:v>
                </c:pt>
                <c:pt idx="756">
                  <c:v>45839</c:v>
                </c:pt>
                <c:pt idx="757">
                  <c:v>45846</c:v>
                </c:pt>
                <c:pt idx="758">
                  <c:v>45853</c:v>
                </c:pt>
                <c:pt idx="759">
                  <c:v>45860</c:v>
                </c:pt>
                <c:pt idx="760">
                  <c:v>45867</c:v>
                </c:pt>
                <c:pt idx="761">
                  <c:v>45874</c:v>
                </c:pt>
                <c:pt idx="762">
                  <c:v>45881</c:v>
                </c:pt>
                <c:pt idx="763">
                  <c:v>45888</c:v>
                </c:pt>
                <c:pt idx="764">
                  <c:v>45895</c:v>
                </c:pt>
                <c:pt idx="765">
                  <c:v>45902</c:v>
                </c:pt>
                <c:pt idx="766">
                  <c:v>45909</c:v>
                </c:pt>
                <c:pt idx="767">
                  <c:v>45916</c:v>
                </c:pt>
                <c:pt idx="768">
                  <c:v>45923</c:v>
                </c:pt>
                <c:pt idx="769">
                  <c:v>45930</c:v>
                </c:pt>
                <c:pt idx="770">
                  <c:v>45937</c:v>
                </c:pt>
                <c:pt idx="771">
                  <c:v>45944</c:v>
                </c:pt>
                <c:pt idx="772">
                  <c:v>45951</c:v>
                </c:pt>
                <c:pt idx="773">
                  <c:v>45958</c:v>
                </c:pt>
                <c:pt idx="774">
                  <c:v>45965</c:v>
                </c:pt>
                <c:pt idx="775">
                  <c:v>45972</c:v>
                </c:pt>
                <c:pt idx="776">
                  <c:v>45979</c:v>
                </c:pt>
                <c:pt idx="777">
                  <c:v>45986</c:v>
                </c:pt>
                <c:pt idx="778">
                  <c:v>45993</c:v>
                </c:pt>
                <c:pt idx="779">
                  <c:v>46000</c:v>
                </c:pt>
                <c:pt idx="780">
                  <c:v>46007</c:v>
                </c:pt>
                <c:pt idx="781">
                  <c:v>46014</c:v>
                </c:pt>
                <c:pt idx="782">
                  <c:v>46021</c:v>
                </c:pt>
                <c:pt idx="783">
                  <c:v>46028</c:v>
                </c:pt>
                <c:pt idx="784">
                  <c:v>46035</c:v>
                </c:pt>
                <c:pt idx="785">
                  <c:v>46042</c:v>
                </c:pt>
                <c:pt idx="786">
                  <c:v>46049</c:v>
                </c:pt>
                <c:pt idx="787">
                  <c:v>46056</c:v>
                </c:pt>
                <c:pt idx="788">
                  <c:v>46063</c:v>
                </c:pt>
                <c:pt idx="789">
                  <c:v>46070</c:v>
                </c:pt>
                <c:pt idx="790">
                  <c:v>46077</c:v>
                </c:pt>
              </c:numCache>
            </c:numRef>
          </c:cat>
          <c:val>
            <c:numRef>
              <c:f>'T5-8'!$C$159:$C$949</c:f>
              <c:numCache>
                <c:formatCode>0.00</c:formatCode>
                <c:ptCount val="791"/>
                <c:pt idx="0">
                  <c:v>11.5</c:v>
                </c:pt>
                <c:pt idx="1">
                  <c:v>11.5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.25</c:v>
                </c:pt>
                <c:pt idx="10">
                  <c:v>12.25</c:v>
                </c:pt>
                <c:pt idx="11">
                  <c:v>12.25</c:v>
                </c:pt>
                <c:pt idx="12">
                  <c:v>12.25</c:v>
                </c:pt>
                <c:pt idx="13">
                  <c:v>12.5</c:v>
                </c:pt>
                <c:pt idx="14">
                  <c:v>12.5</c:v>
                </c:pt>
                <c:pt idx="15">
                  <c:v>12.5</c:v>
                </c:pt>
                <c:pt idx="16">
                  <c:v>12.5</c:v>
                </c:pt>
                <c:pt idx="17">
                  <c:v>12.5</c:v>
                </c:pt>
                <c:pt idx="18">
                  <c:v>12.5</c:v>
                </c:pt>
                <c:pt idx="19">
                  <c:v>12.5</c:v>
                </c:pt>
                <c:pt idx="20">
                  <c:v>12.5</c:v>
                </c:pt>
                <c:pt idx="21">
                  <c:v>12.5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1.75</c:v>
                </c:pt>
                <c:pt idx="27">
                  <c:v>11.75</c:v>
                </c:pt>
                <c:pt idx="28">
                  <c:v>11.75</c:v>
                </c:pt>
                <c:pt idx="29">
                  <c:v>11.75</c:v>
                </c:pt>
                <c:pt idx="30">
                  <c:v>11.75</c:v>
                </c:pt>
                <c:pt idx="31">
                  <c:v>11.75</c:v>
                </c:pt>
                <c:pt idx="32">
                  <c:v>11.75</c:v>
                </c:pt>
                <c:pt idx="33">
                  <c:v>11.75</c:v>
                </c:pt>
                <c:pt idx="34">
                  <c:v>11.75</c:v>
                </c:pt>
                <c:pt idx="35">
                  <c:v>11.25</c:v>
                </c:pt>
                <c:pt idx="36">
                  <c:v>11.25</c:v>
                </c:pt>
                <c:pt idx="37">
                  <c:v>11.25</c:v>
                </c:pt>
                <c:pt idx="38">
                  <c:v>11.25</c:v>
                </c:pt>
                <c:pt idx="39">
                  <c:v>10.75</c:v>
                </c:pt>
                <c:pt idx="40">
                  <c:v>10.75</c:v>
                </c:pt>
                <c:pt idx="41">
                  <c:v>10.75</c:v>
                </c:pt>
                <c:pt idx="42">
                  <c:v>10.75</c:v>
                </c:pt>
                <c:pt idx="43">
                  <c:v>10.75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9.75</c:v>
                </c:pt>
                <c:pt idx="49">
                  <c:v>9.75</c:v>
                </c:pt>
                <c:pt idx="50">
                  <c:v>9.75</c:v>
                </c:pt>
                <c:pt idx="51">
                  <c:v>9.75</c:v>
                </c:pt>
                <c:pt idx="52">
                  <c:v>9.75</c:v>
                </c:pt>
                <c:pt idx="53">
                  <c:v>9.75</c:v>
                </c:pt>
                <c:pt idx="54">
                  <c:v>9.5</c:v>
                </c:pt>
                <c:pt idx="55">
                  <c:v>9.5</c:v>
                </c:pt>
                <c:pt idx="56">
                  <c:v>9.5</c:v>
                </c:pt>
                <c:pt idx="57">
                  <c:v>9.5</c:v>
                </c:pt>
                <c:pt idx="58">
                  <c:v>9.5</c:v>
                </c:pt>
                <c:pt idx="59">
                  <c:v>9.5</c:v>
                </c:pt>
                <c:pt idx="60">
                  <c:v>9.5</c:v>
                </c:pt>
                <c:pt idx="61">
                  <c:v>9.5</c:v>
                </c:pt>
                <c:pt idx="62">
                  <c:v>9.5</c:v>
                </c:pt>
                <c:pt idx="63">
                  <c:v>9.5</c:v>
                </c:pt>
                <c:pt idx="64">
                  <c:v>9.5</c:v>
                </c:pt>
                <c:pt idx="65">
                  <c:v>9.5</c:v>
                </c:pt>
                <c:pt idx="66">
                  <c:v>9.5</c:v>
                </c:pt>
                <c:pt idx="67">
                  <c:v>9.5</c:v>
                </c:pt>
                <c:pt idx="68">
                  <c:v>9.5</c:v>
                </c:pt>
                <c:pt idx="69">
                  <c:v>9.5</c:v>
                </c:pt>
                <c:pt idx="70">
                  <c:v>9.5</c:v>
                </c:pt>
                <c:pt idx="71">
                  <c:v>9.5</c:v>
                </c:pt>
                <c:pt idx="72">
                  <c:v>9.5</c:v>
                </c:pt>
                <c:pt idx="73">
                  <c:v>9.5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 formatCode="General">
                  <c:v>10.25</c:v>
                </c:pt>
                <c:pt idx="80" formatCode="General">
                  <c:v>10.25</c:v>
                </c:pt>
                <c:pt idx="81" formatCode="General">
                  <c:v>10.25</c:v>
                </c:pt>
                <c:pt idx="82" formatCode="General">
                  <c:v>10.25</c:v>
                </c:pt>
                <c:pt idx="83">
                  <c:v>10.5</c:v>
                </c:pt>
                <c:pt idx="84">
                  <c:v>10.5</c:v>
                </c:pt>
                <c:pt idx="85">
                  <c:v>10.5</c:v>
                </c:pt>
                <c:pt idx="86">
                  <c:v>10.5</c:v>
                </c:pt>
                <c:pt idx="87">
                  <c:v>10.5</c:v>
                </c:pt>
                <c:pt idx="88">
                  <c:v>10.5</c:v>
                </c:pt>
                <c:pt idx="89">
                  <c:v>10.5</c:v>
                </c:pt>
                <c:pt idx="90">
                  <c:v>10.5</c:v>
                </c:pt>
                <c:pt idx="91">
                  <c:v>10.5</c:v>
                </c:pt>
                <c:pt idx="92" formatCode="General">
                  <c:v>10.75</c:v>
                </c:pt>
                <c:pt idx="93" formatCode="General">
                  <c:v>10.75</c:v>
                </c:pt>
                <c:pt idx="94" formatCode="General">
                  <c:v>10.75</c:v>
                </c:pt>
                <c:pt idx="95" formatCode="General">
                  <c:v>10.75</c:v>
                </c:pt>
                <c:pt idx="96" formatCode="General">
                  <c:v>10.95</c:v>
                </c:pt>
                <c:pt idx="97" formatCode="General">
                  <c:v>10.95</c:v>
                </c:pt>
                <c:pt idx="98" formatCode="General">
                  <c:v>10.95</c:v>
                </c:pt>
                <c:pt idx="99" formatCode="General">
                  <c:v>10.95</c:v>
                </c:pt>
                <c:pt idx="100" formatCode="General">
                  <c:v>10.95</c:v>
                </c:pt>
                <c:pt idx="101" formatCode="General">
                  <c:v>11.25</c:v>
                </c:pt>
                <c:pt idx="102" formatCode="General">
                  <c:v>11.25</c:v>
                </c:pt>
                <c:pt idx="103" formatCode="General">
                  <c:v>11.25</c:v>
                </c:pt>
                <c:pt idx="104" formatCode="General">
                  <c:v>11.25</c:v>
                </c:pt>
                <c:pt idx="105" formatCode="General">
                  <c:v>11.25</c:v>
                </c:pt>
                <c:pt idx="106" formatCode="General">
                  <c:v>11.5</c:v>
                </c:pt>
                <c:pt idx="107" formatCode="General">
                  <c:v>11.5</c:v>
                </c:pt>
                <c:pt idx="108" formatCode="General">
                  <c:v>11.5</c:v>
                </c:pt>
                <c:pt idx="109" formatCode="General">
                  <c:v>11.75</c:v>
                </c:pt>
                <c:pt idx="110" formatCode="General">
                  <c:v>11.75</c:v>
                </c:pt>
                <c:pt idx="111" formatCode="General">
                  <c:v>11.75</c:v>
                </c:pt>
                <c:pt idx="112" formatCode="General">
                  <c:v>11.75</c:v>
                </c:pt>
                <c:pt idx="113" formatCode="General">
                  <c:v>11.75</c:v>
                </c:pt>
                <c:pt idx="114" formatCode="General">
                  <c:v>11.75</c:v>
                </c:pt>
                <c:pt idx="115" formatCode="General">
                  <c:v>11.75</c:v>
                </c:pt>
                <c:pt idx="116" formatCode="General">
                  <c:v>11.75</c:v>
                </c:pt>
                <c:pt idx="117" formatCode="General">
                  <c:v>11.75</c:v>
                </c:pt>
                <c:pt idx="118" formatCode="General">
                  <c:v>11.75</c:v>
                </c:pt>
                <c:pt idx="119" formatCode="General">
                  <c:v>11.75</c:v>
                </c:pt>
                <c:pt idx="120" formatCode="General">
                  <c:v>11.75</c:v>
                </c:pt>
                <c:pt idx="121" formatCode="General">
                  <c:v>11.75</c:v>
                </c:pt>
                <c:pt idx="122" formatCode="General">
                  <c:v>11.75</c:v>
                </c:pt>
                <c:pt idx="123" formatCode="General">
                  <c:v>11.25</c:v>
                </c:pt>
                <c:pt idx="124" formatCode="General">
                  <c:v>11.25</c:v>
                </c:pt>
                <c:pt idx="125" formatCode="General">
                  <c:v>11.25</c:v>
                </c:pt>
                <c:pt idx="126" formatCode="General">
                  <c:v>11.25</c:v>
                </c:pt>
                <c:pt idx="127" formatCode="General">
                  <c:v>11</c:v>
                </c:pt>
                <c:pt idx="128" formatCode="General">
                  <c:v>11</c:v>
                </c:pt>
                <c:pt idx="129" formatCode="General">
                  <c:v>11</c:v>
                </c:pt>
                <c:pt idx="130" formatCode="General">
                  <c:v>11</c:v>
                </c:pt>
                <c:pt idx="131" formatCode="General">
                  <c:v>11</c:v>
                </c:pt>
                <c:pt idx="132" formatCode="General">
                  <c:v>11</c:v>
                </c:pt>
                <c:pt idx="133" formatCode="General">
                  <c:v>11</c:v>
                </c:pt>
                <c:pt idx="134" formatCode="General">
                  <c:v>11</c:v>
                </c:pt>
                <c:pt idx="135" formatCode="General">
                  <c:v>11</c:v>
                </c:pt>
                <c:pt idx="136" formatCode="General">
                  <c:v>11</c:v>
                </c:pt>
                <c:pt idx="137" formatCode="General">
                  <c:v>11</c:v>
                </c:pt>
                <c:pt idx="138" formatCode="General">
                  <c:v>11</c:v>
                </c:pt>
                <c:pt idx="139" formatCode="General">
                  <c:v>11</c:v>
                </c:pt>
                <c:pt idx="140" formatCode="General">
                  <c:v>11</c:v>
                </c:pt>
                <c:pt idx="141" formatCode="General">
                  <c:v>11</c:v>
                </c:pt>
                <c:pt idx="142" formatCode="General">
                  <c:v>11</c:v>
                </c:pt>
                <c:pt idx="143" formatCode="General">
                  <c:v>11</c:v>
                </c:pt>
                <c:pt idx="144" formatCode="General">
                  <c:v>11</c:v>
                </c:pt>
                <c:pt idx="145" formatCode="General">
                  <c:v>11</c:v>
                </c:pt>
                <c:pt idx="146" formatCode="General">
                  <c:v>10.5</c:v>
                </c:pt>
                <c:pt idx="147" formatCode="General">
                  <c:v>10.5</c:v>
                </c:pt>
                <c:pt idx="148" formatCode="General">
                  <c:v>10.5</c:v>
                </c:pt>
                <c:pt idx="149" formatCode="General">
                  <c:v>10</c:v>
                </c:pt>
                <c:pt idx="150" formatCode="General">
                  <c:v>10</c:v>
                </c:pt>
                <c:pt idx="151" formatCode="General">
                  <c:v>10</c:v>
                </c:pt>
                <c:pt idx="152" formatCode="General">
                  <c:v>10</c:v>
                </c:pt>
                <c:pt idx="153" formatCode="General">
                  <c:v>10</c:v>
                </c:pt>
                <c:pt idx="154" formatCode="General">
                  <c:v>9.5</c:v>
                </c:pt>
                <c:pt idx="155" formatCode="General">
                  <c:v>9.5</c:v>
                </c:pt>
                <c:pt idx="156" formatCode="General">
                  <c:v>9.5</c:v>
                </c:pt>
                <c:pt idx="157" formatCode="General">
                  <c:v>9.5</c:v>
                </c:pt>
                <c:pt idx="158" formatCode="General">
                  <c:v>9.5</c:v>
                </c:pt>
                <c:pt idx="159" formatCode="General">
                  <c:v>9.5</c:v>
                </c:pt>
                <c:pt idx="160" formatCode="General">
                  <c:v>9.5</c:v>
                </c:pt>
                <c:pt idx="161" formatCode="General">
                  <c:v>9.5</c:v>
                </c:pt>
                <c:pt idx="162" formatCode="General">
                  <c:v>9.5</c:v>
                </c:pt>
                <c:pt idx="163" formatCode="General">
                  <c:v>9.5</c:v>
                </c:pt>
                <c:pt idx="164" formatCode="General">
                  <c:v>9.5</c:v>
                </c:pt>
                <c:pt idx="165" formatCode="General">
                  <c:v>9.5</c:v>
                </c:pt>
                <c:pt idx="166" formatCode="General">
                  <c:v>9.5</c:v>
                </c:pt>
                <c:pt idx="167" formatCode="General">
                  <c:v>9.5</c:v>
                </c:pt>
                <c:pt idx="168" formatCode="General">
                  <c:v>9.5</c:v>
                </c:pt>
                <c:pt idx="169" formatCode="General">
                  <c:v>9.5</c:v>
                </c:pt>
                <c:pt idx="170" formatCode="General">
                  <c:v>9.5</c:v>
                </c:pt>
                <c:pt idx="171" formatCode="General">
                  <c:v>9.5</c:v>
                </c:pt>
                <c:pt idx="172" formatCode="General">
                  <c:v>9.5</c:v>
                </c:pt>
                <c:pt idx="173" formatCode="General">
                  <c:v>9.5</c:v>
                </c:pt>
                <c:pt idx="174" formatCode="General">
                  <c:v>9.5</c:v>
                </c:pt>
                <c:pt idx="175" formatCode="General">
                  <c:v>9</c:v>
                </c:pt>
                <c:pt idx="176" formatCode="General">
                  <c:v>9</c:v>
                </c:pt>
                <c:pt idx="177" formatCode="General">
                  <c:v>9</c:v>
                </c:pt>
                <c:pt idx="178" formatCode="General">
                  <c:v>9</c:v>
                </c:pt>
                <c:pt idx="179" formatCode="General">
                  <c:v>9</c:v>
                </c:pt>
                <c:pt idx="180" formatCode="General">
                  <c:v>8.5</c:v>
                </c:pt>
                <c:pt idx="181" formatCode="General">
                  <c:v>8.5</c:v>
                </c:pt>
                <c:pt idx="182" formatCode="General">
                  <c:v>8.5</c:v>
                </c:pt>
                <c:pt idx="183" formatCode="General">
                  <c:v>8.5</c:v>
                </c:pt>
                <c:pt idx="184" formatCode="General">
                  <c:v>8.5</c:v>
                </c:pt>
                <c:pt idx="185" formatCode="General">
                  <c:v>8.5</c:v>
                </c:pt>
                <c:pt idx="186" formatCode="General">
                  <c:v>8.5</c:v>
                </c:pt>
                <c:pt idx="187" formatCode="General">
                  <c:v>8.5</c:v>
                </c:pt>
                <c:pt idx="188" formatCode="General">
                  <c:v>8.5</c:v>
                </c:pt>
                <c:pt idx="189" formatCode="General">
                  <c:v>8.5</c:v>
                </c:pt>
                <c:pt idx="190" formatCode="General">
                  <c:v>8.5</c:v>
                </c:pt>
                <c:pt idx="191" formatCode="General">
                  <c:v>8.5</c:v>
                </c:pt>
                <c:pt idx="192" formatCode="General">
                  <c:v>8.5</c:v>
                </c:pt>
                <c:pt idx="193" formatCode="General">
                  <c:v>8.5</c:v>
                </c:pt>
                <c:pt idx="194" formatCode="General">
                  <c:v>8.5</c:v>
                </c:pt>
                <c:pt idx="195" formatCode="General">
                  <c:v>8.5</c:v>
                </c:pt>
                <c:pt idx="196" formatCode="General">
                  <c:v>8.5</c:v>
                </c:pt>
                <c:pt idx="197" formatCode="General">
                  <c:v>8.5</c:v>
                </c:pt>
                <c:pt idx="198" formatCode="General">
                  <c:v>8.5</c:v>
                </c:pt>
                <c:pt idx="199" formatCode="General">
                  <c:v>8.5</c:v>
                </c:pt>
                <c:pt idx="200" formatCode="General">
                  <c:v>8.5</c:v>
                </c:pt>
                <c:pt idx="201" formatCode="General">
                  <c:v>8.5</c:v>
                </c:pt>
                <c:pt idx="202" formatCode="General">
                  <c:v>8</c:v>
                </c:pt>
                <c:pt idx="203" formatCode="General">
                  <c:v>8</c:v>
                </c:pt>
                <c:pt idx="204" formatCode="General">
                  <c:v>8</c:v>
                </c:pt>
                <c:pt idx="205" formatCode="General">
                  <c:v>8</c:v>
                </c:pt>
                <c:pt idx="206" formatCode="General">
                  <c:v>8</c:v>
                </c:pt>
                <c:pt idx="207" formatCode="General">
                  <c:v>8</c:v>
                </c:pt>
                <c:pt idx="208" formatCode="General">
                  <c:v>8</c:v>
                </c:pt>
                <c:pt idx="209" formatCode="General">
                  <c:v>8</c:v>
                </c:pt>
                <c:pt idx="210" formatCode="General">
                  <c:v>8</c:v>
                </c:pt>
                <c:pt idx="211" formatCode="General">
                  <c:v>8</c:v>
                </c:pt>
                <c:pt idx="212" formatCode="General">
                  <c:v>8</c:v>
                </c:pt>
                <c:pt idx="213" formatCode="General">
                  <c:v>8</c:v>
                </c:pt>
                <c:pt idx="214" formatCode="General">
                  <c:v>8</c:v>
                </c:pt>
                <c:pt idx="215" formatCode="General">
                  <c:v>8</c:v>
                </c:pt>
                <c:pt idx="216" formatCode="General">
                  <c:v>8</c:v>
                </c:pt>
                <c:pt idx="217" formatCode="General">
                  <c:v>8</c:v>
                </c:pt>
                <c:pt idx="218" formatCode="General">
                  <c:v>8</c:v>
                </c:pt>
                <c:pt idx="219" formatCode="General">
                  <c:v>7.5</c:v>
                </c:pt>
                <c:pt idx="220" formatCode="General">
                  <c:v>7.5</c:v>
                </c:pt>
                <c:pt idx="221" formatCode="General">
                  <c:v>7.5</c:v>
                </c:pt>
                <c:pt idx="222" formatCode="General">
                  <c:v>7.5</c:v>
                </c:pt>
                <c:pt idx="223" formatCode="General">
                  <c:v>7</c:v>
                </c:pt>
                <c:pt idx="224" formatCode="General">
                  <c:v>7</c:v>
                </c:pt>
                <c:pt idx="225" formatCode="General">
                  <c:v>7</c:v>
                </c:pt>
                <c:pt idx="226" formatCode="General">
                  <c:v>7</c:v>
                </c:pt>
                <c:pt idx="227" formatCode="General">
                  <c:v>6.5</c:v>
                </c:pt>
                <c:pt idx="228" formatCode="General">
                  <c:v>6.5</c:v>
                </c:pt>
                <c:pt idx="229" formatCode="General">
                  <c:v>6.5</c:v>
                </c:pt>
                <c:pt idx="230" formatCode="General">
                  <c:v>6.5</c:v>
                </c:pt>
                <c:pt idx="231" formatCode="General">
                  <c:v>6.5</c:v>
                </c:pt>
                <c:pt idx="232" formatCode="General">
                  <c:v>6</c:v>
                </c:pt>
                <c:pt idx="233" formatCode="General">
                  <c:v>6</c:v>
                </c:pt>
                <c:pt idx="234" formatCode="General">
                  <c:v>6</c:v>
                </c:pt>
                <c:pt idx="235" formatCode="General">
                  <c:v>6</c:v>
                </c:pt>
                <c:pt idx="236" formatCode="General">
                  <c:v>6</c:v>
                </c:pt>
                <c:pt idx="237" formatCode="General">
                  <c:v>6</c:v>
                </c:pt>
                <c:pt idx="238" formatCode="General">
                  <c:v>6</c:v>
                </c:pt>
                <c:pt idx="239" formatCode="General">
                  <c:v>6</c:v>
                </c:pt>
                <c:pt idx="240" formatCode="General">
                  <c:v>6</c:v>
                </c:pt>
                <c:pt idx="241" formatCode="General">
                  <c:v>5.5</c:v>
                </c:pt>
                <c:pt idx="242" formatCode="General">
                  <c:v>5.5</c:v>
                </c:pt>
                <c:pt idx="243" formatCode="General">
                  <c:v>5.5</c:v>
                </c:pt>
                <c:pt idx="244" formatCode="General">
                  <c:v>5.5</c:v>
                </c:pt>
                <c:pt idx="245" formatCode="General">
                  <c:v>5</c:v>
                </c:pt>
                <c:pt idx="246" formatCode="General">
                  <c:v>5</c:v>
                </c:pt>
                <c:pt idx="247" formatCode="General">
                  <c:v>5</c:v>
                </c:pt>
                <c:pt idx="248" formatCode="General">
                  <c:v>5</c:v>
                </c:pt>
                <c:pt idx="249" formatCode="General">
                  <c:v>5</c:v>
                </c:pt>
                <c:pt idx="250" formatCode="General">
                  <c:v>4.5</c:v>
                </c:pt>
                <c:pt idx="251" formatCode="General">
                  <c:v>4.5</c:v>
                </c:pt>
                <c:pt idx="252" formatCode="General">
                  <c:v>4.5</c:v>
                </c:pt>
                <c:pt idx="253" formatCode="General">
                  <c:v>4.5</c:v>
                </c:pt>
                <c:pt idx="254" formatCode="General">
                  <c:v>4.5</c:v>
                </c:pt>
                <c:pt idx="255" formatCode="General">
                  <c:v>4.5</c:v>
                </c:pt>
                <c:pt idx="256" formatCode="General">
                  <c:v>4.5</c:v>
                </c:pt>
                <c:pt idx="257" formatCode="General">
                  <c:v>4.5</c:v>
                </c:pt>
                <c:pt idx="258" formatCode="General">
                  <c:v>4.5</c:v>
                </c:pt>
                <c:pt idx="259" formatCode="General">
                  <c:v>4.5</c:v>
                </c:pt>
                <c:pt idx="260" formatCode="General">
                  <c:v>4.5</c:v>
                </c:pt>
                <c:pt idx="261" formatCode="General">
                  <c:v>4.5</c:v>
                </c:pt>
                <c:pt idx="262" formatCode="General">
                  <c:v>4.5</c:v>
                </c:pt>
                <c:pt idx="263" formatCode="General">
                  <c:v>4.5</c:v>
                </c:pt>
                <c:pt idx="264" formatCode="General">
                  <c:v>4.5</c:v>
                </c:pt>
                <c:pt idx="265" formatCode="General">
                  <c:v>4.5</c:v>
                </c:pt>
                <c:pt idx="266" formatCode="General">
                  <c:v>4.5</c:v>
                </c:pt>
                <c:pt idx="267" formatCode="General">
                  <c:v>4.25</c:v>
                </c:pt>
                <c:pt idx="268" formatCode="General">
                  <c:v>4.25</c:v>
                </c:pt>
                <c:pt idx="269" formatCode="General">
                  <c:v>4.25</c:v>
                </c:pt>
                <c:pt idx="270" formatCode="General">
                  <c:v>4.25</c:v>
                </c:pt>
                <c:pt idx="271" formatCode="General">
                  <c:v>4.25</c:v>
                </c:pt>
                <c:pt idx="272" formatCode="General">
                  <c:v>4.25</c:v>
                </c:pt>
                <c:pt idx="273" formatCode="General">
                  <c:v>4.25</c:v>
                </c:pt>
                <c:pt idx="274" formatCode="General">
                  <c:v>4.25</c:v>
                </c:pt>
                <c:pt idx="275" formatCode="General">
                  <c:v>4.25</c:v>
                </c:pt>
                <c:pt idx="276" formatCode="General">
                  <c:v>4.25</c:v>
                </c:pt>
                <c:pt idx="277" formatCode="General">
                  <c:v>4.25</c:v>
                </c:pt>
                <c:pt idx="278" formatCode="General">
                  <c:v>4.25</c:v>
                </c:pt>
                <c:pt idx="279" formatCode="General">
                  <c:v>4.25</c:v>
                </c:pt>
                <c:pt idx="280" formatCode="General">
                  <c:v>4.25</c:v>
                </c:pt>
                <c:pt idx="281" formatCode="General">
                  <c:v>4.25</c:v>
                </c:pt>
                <c:pt idx="282" formatCode="General">
                  <c:v>4.25</c:v>
                </c:pt>
                <c:pt idx="283" formatCode="General">
                  <c:v>4.25</c:v>
                </c:pt>
                <c:pt idx="284" formatCode="General">
                  <c:v>4.25</c:v>
                </c:pt>
                <c:pt idx="285" formatCode="General">
                  <c:v>4.25</c:v>
                </c:pt>
                <c:pt idx="286" formatCode="General">
                  <c:v>4.25</c:v>
                </c:pt>
                <c:pt idx="287" formatCode="General">
                  <c:v>4.25</c:v>
                </c:pt>
                <c:pt idx="288" formatCode="General">
                  <c:v>4</c:v>
                </c:pt>
                <c:pt idx="289" formatCode="General">
                  <c:v>4</c:v>
                </c:pt>
                <c:pt idx="290" formatCode="General">
                  <c:v>4</c:v>
                </c:pt>
                <c:pt idx="291" formatCode="General">
                  <c:v>4</c:v>
                </c:pt>
                <c:pt idx="292" formatCode="General">
                  <c:v>4</c:v>
                </c:pt>
                <c:pt idx="293" formatCode="General">
                  <c:v>4</c:v>
                </c:pt>
                <c:pt idx="294" formatCode="General">
                  <c:v>4</c:v>
                </c:pt>
                <c:pt idx="295" formatCode="General">
                  <c:v>4</c:v>
                </c:pt>
                <c:pt idx="296" formatCode="General">
                  <c:v>4</c:v>
                </c:pt>
                <c:pt idx="297" formatCode="General">
                  <c:v>4</c:v>
                </c:pt>
                <c:pt idx="298" formatCode="General">
                  <c:v>4</c:v>
                </c:pt>
                <c:pt idx="299" formatCode="General">
                  <c:v>4</c:v>
                </c:pt>
                <c:pt idx="300" formatCode="General">
                  <c:v>4</c:v>
                </c:pt>
                <c:pt idx="301" formatCode="General">
                  <c:v>4</c:v>
                </c:pt>
                <c:pt idx="302" formatCode="General">
                  <c:v>4</c:v>
                </c:pt>
                <c:pt idx="303" formatCode="General">
                  <c:v>4</c:v>
                </c:pt>
                <c:pt idx="304" formatCode="General">
                  <c:v>4</c:v>
                </c:pt>
                <c:pt idx="305" formatCode="General">
                  <c:v>4</c:v>
                </c:pt>
                <c:pt idx="306" formatCode="General">
                  <c:v>4</c:v>
                </c:pt>
                <c:pt idx="307" formatCode="General">
                  <c:v>4</c:v>
                </c:pt>
                <c:pt idx="308" formatCode="General">
                  <c:v>4</c:v>
                </c:pt>
                <c:pt idx="309" formatCode="General">
                  <c:v>4</c:v>
                </c:pt>
                <c:pt idx="310" formatCode="General">
                  <c:v>4</c:v>
                </c:pt>
                <c:pt idx="311" formatCode="General">
                  <c:v>4</c:v>
                </c:pt>
                <c:pt idx="312" formatCode="General">
                  <c:v>4</c:v>
                </c:pt>
                <c:pt idx="313" formatCode="General">
                  <c:v>4</c:v>
                </c:pt>
                <c:pt idx="314" formatCode="General">
                  <c:v>4</c:v>
                </c:pt>
                <c:pt idx="315" formatCode="General">
                  <c:v>4</c:v>
                </c:pt>
                <c:pt idx="316" formatCode="General">
                  <c:v>4</c:v>
                </c:pt>
                <c:pt idx="317" formatCode="General">
                  <c:v>4</c:v>
                </c:pt>
                <c:pt idx="318" formatCode="General">
                  <c:v>4</c:v>
                </c:pt>
                <c:pt idx="319" formatCode="General">
                  <c:v>4</c:v>
                </c:pt>
                <c:pt idx="320" formatCode="General">
                  <c:v>4</c:v>
                </c:pt>
                <c:pt idx="321" formatCode="General">
                  <c:v>4</c:v>
                </c:pt>
                <c:pt idx="322" formatCode="General">
                  <c:v>4</c:v>
                </c:pt>
                <c:pt idx="323" formatCode="General">
                  <c:v>4</c:v>
                </c:pt>
                <c:pt idx="324" formatCode="General">
                  <c:v>4</c:v>
                </c:pt>
                <c:pt idx="325" formatCode="General">
                  <c:v>4</c:v>
                </c:pt>
                <c:pt idx="326" formatCode="General">
                  <c:v>4</c:v>
                </c:pt>
                <c:pt idx="327" formatCode="General">
                  <c:v>4</c:v>
                </c:pt>
                <c:pt idx="328" formatCode="General">
                  <c:v>4</c:v>
                </c:pt>
                <c:pt idx="329" formatCode="General">
                  <c:v>4</c:v>
                </c:pt>
                <c:pt idx="330" formatCode="General">
                  <c:v>4</c:v>
                </c:pt>
                <c:pt idx="331" formatCode="General">
                  <c:v>4</c:v>
                </c:pt>
                <c:pt idx="332" formatCode="General">
                  <c:v>4</c:v>
                </c:pt>
                <c:pt idx="333" formatCode="General">
                  <c:v>4</c:v>
                </c:pt>
                <c:pt idx="334" formatCode="General">
                  <c:v>4</c:v>
                </c:pt>
                <c:pt idx="335" formatCode="General">
                  <c:v>4</c:v>
                </c:pt>
                <c:pt idx="336" formatCode="General">
                  <c:v>4</c:v>
                </c:pt>
                <c:pt idx="337" formatCode="General">
                  <c:v>4</c:v>
                </c:pt>
                <c:pt idx="338" formatCode="General">
                  <c:v>4</c:v>
                </c:pt>
                <c:pt idx="339" formatCode="General">
                  <c:v>4</c:v>
                </c:pt>
                <c:pt idx="340" formatCode="General">
                  <c:v>4</c:v>
                </c:pt>
                <c:pt idx="341" formatCode="General">
                  <c:v>4</c:v>
                </c:pt>
                <c:pt idx="342" formatCode="General">
                  <c:v>4</c:v>
                </c:pt>
                <c:pt idx="343" formatCode="General">
                  <c:v>4</c:v>
                </c:pt>
                <c:pt idx="344" formatCode="General">
                  <c:v>4</c:v>
                </c:pt>
                <c:pt idx="345" formatCode="General">
                  <c:v>4</c:v>
                </c:pt>
                <c:pt idx="346" formatCode="General">
                  <c:v>4</c:v>
                </c:pt>
                <c:pt idx="347" formatCode="General">
                  <c:v>4</c:v>
                </c:pt>
                <c:pt idx="348" formatCode="General">
                  <c:v>3.75</c:v>
                </c:pt>
                <c:pt idx="349" formatCode="General">
                  <c:v>3.75</c:v>
                </c:pt>
                <c:pt idx="350" formatCode="General">
                  <c:v>3.75</c:v>
                </c:pt>
                <c:pt idx="351" formatCode="General">
                  <c:v>3.75</c:v>
                </c:pt>
                <c:pt idx="352" formatCode="General">
                  <c:v>3.75</c:v>
                </c:pt>
                <c:pt idx="353" formatCode="0.0">
                  <c:v>3.5</c:v>
                </c:pt>
                <c:pt idx="354" formatCode="0.0">
                  <c:v>3.5</c:v>
                </c:pt>
                <c:pt idx="355" formatCode="0.0">
                  <c:v>3.5</c:v>
                </c:pt>
                <c:pt idx="356" formatCode="0.0">
                  <c:v>3.5</c:v>
                </c:pt>
                <c:pt idx="357" formatCode="0.0">
                  <c:v>3.5</c:v>
                </c:pt>
                <c:pt idx="358" formatCode="0.0">
                  <c:v>3.5</c:v>
                </c:pt>
                <c:pt idx="359" formatCode="0.0">
                  <c:v>3.5</c:v>
                </c:pt>
                <c:pt idx="360" formatCode="0.0">
                  <c:v>3.5</c:v>
                </c:pt>
                <c:pt idx="361" formatCode="0.0">
                  <c:v>3.5</c:v>
                </c:pt>
                <c:pt idx="362" formatCode="0.0">
                  <c:v>3.5</c:v>
                </c:pt>
                <c:pt idx="363" formatCode="0.0">
                  <c:v>3.5</c:v>
                </c:pt>
                <c:pt idx="364" formatCode="0.0">
                  <c:v>3.5</c:v>
                </c:pt>
                <c:pt idx="365" formatCode="0.0">
                  <c:v>3.5</c:v>
                </c:pt>
                <c:pt idx="366" formatCode="0.0">
                  <c:v>3.5</c:v>
                </c:pt>
                <c:pt idx="367" formatCode="0.0">
                  <c:v>3.5</c:v>
                </c:pt>
                <c:pt idx="368" formatCode="0.0">
                  <c:v>3.5</c:v>
                </c:pt>
                <c:pt idx="369" formatCode="0.0">
                  <c:v>3.5</c:v>
                </c:pt>
                <c:pt idx="370" formatCode="0.0">
                  <c:v>3.5</c:v>
                </c:pt>
                <c:pt idx="371" formatCode="0.0">
                  <c:v>3.5</c:v>
                </c:pt>
                <c:pt idx="372" formatCode="0.0">
                  <c:v>3.5</c:v>
                </c:pt>
                <c:pt idx="373" formatCode="0.0">
                  <c:v>3.5</c:v>
                </c:pt>
                <c:pt idx="374">
                  <c:v>3.5</c:v>
                </c:pt>
                <c:pt idx="375">
                  <c:v>3.5</c:v>
                </c:pt>
                <c:pt idx="376">
                  <c:v>3.25</c:v>
                </c:pt>
                <c:pt idx="377">
                  <c:v>3.25</c:v>
                </c:pt>
                <c:pt idx="378">
                  <c:v>3.25</c:v>
                </c:pt>
                <c:pt idx="379">
                  <c:v>3.25</c:v>
                </c:pt>
                <c:pt idx="380">
                  <c:v>3</c:v>
                </c:pt>
                <c:pt idx="381">
                  <c:v>3</c:v>
                </c:pt>
                <c:pt idx="382">
                  <c:v>3</c:v>
                </c:pt>
                <c:pt idx="383">
                  <c:v>3</c:v>
                </c:pt>
                <c:pt idx="384">
                  <c:v>3</c:v>
                </c:pt>
                <c:pt idx="385">
                  <c:v>3</c:v>
                </c:pt>
                <c:pt idx="386">
                  <c:v>3</c:v>
                </c:pt>
                <c:pt idx="387">
                  <c:v>3</c:v>
                </c:pt>
                <c:pt idx="388">
                  <c:v>3</c:v>
                </c:pt>
                <c:pt idx="389">
                  <c:v>3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3</c:v>
                </c:pt>
                <c:pt idx="394">
                  <c:v>3</c:v>
                </c:pt>
                <c:pt idx="395">
                  <c:v>3</c:v>
                </c:pt>
                <c:pt idx="396">
                  <c:v>3</c:v>
                </c:pt>
                <c:pt idx="397">
                  <c:v>3</c:v>
                </c:pt>
                <c:pt idx="398">
                  <c:v>3</c:v>
                </c:pt>
                <c:pt idx="399">
                  <c:v>3</c:v>
                </c:pt>
                <c:pt idx="400">
                  <c:v>3</c:v>
                </c:pt>
                <c:pt idx="401">
                  <c:v>3</c:v>
                </c:pt>
                <c:pt idx="402">
                  <c:v>3</c:v>
                </c:pt>
                <c:pt idx="403">
                  <c:v>3</c:v>
                </c:pt>
                <c:pt idx="404">
                  <c:v>3</c:v>
                </c:pt>
                <c:pt idx="405">
                  <c:v>3</c:v>
                </c:pt>
                <c:pt idx="406">
                  <c:v>3</c:v>
                </c:pt>
                <c:pt idx="407">
                  <c:v>3</c:v>
                </c:pt>
                <c:pt idx="408">
                  <c:v>3</c:v>
                </c:pt>
                <c:pt idx="409">
                  <c:v>3</c:v>
                </c:pt>
                <c:pt idx="410">
                  <c:v>3</c:v>
                </c:pt>
                <c:pt idx="411">
                  <c:v>3</c:v>
                </c:pt>
                <c:pt idx="412">
                  <c:v>3</c:v>
                </c:pt>
                <c:pt idx="413">
                  <c:v>3</c:v>
                </c:pt>
                <c:pt idx="414">
                  <c:v>3</c:v>
                </c:pt>
                <c:pt idx="415">
                  <c:v>3</c:v>
                </c:pt>
                <c:pt idx="416">
                  <c:v>3</c:v>
                </c:pt>
                <c:pt idx="417">
                  <c:v>3</c:v>
                </c:pt>
                <c:pt idx="418">
                  <c:v>3</c:v>
                </c:pt>
                <c:pt idx="419">
                  <c:v>3</c:v>
                </c:pt>
                <c:pt idx="420">
                  <c:v>3</c:v>
                </c:pt>
                <c:pt idx="421">
                  <c:v>3</c:v>
                </c:pt>
                <c:pt idx="422">
                  <c:v>3</c:v>
                </c:pt>
                <c:pt idx="423">
                  <c:v>3</c:v>
                </c:pt>
                <c:pt idx="424">
                  <c:v>3</c:v>
                </c:pt>
                <c:pt idx="425">
                  <c:v>3</c:v>
                </c:pt>
                <c:pt idx="426">
                  <c:v>3</c:v>
                </c:pt>
                <c:pt idx="427">
                  <c:v>3</c:v>
                </c:pt>
                <c:pt idx="428">
                  <c:v>3</c:v>
                </c:pt>
                <c:pt idx="429">
                  <c:v>3</c:v>
                </c:pt>
                <c:pt idx="430">
                  <c:v>3</c:v>
                </c:pt>
                <c:pt idx="431">
                  <c:v>3</c:v>
                </c:pt>
                <c:pt idx="432">
                  <c:v>3</c:v>
                </c:pt>
                <c:pt idx="433">
                  <c:v>3</c:v>
                </c:pt>
                <c:pt idx="434">
                  <c:v>3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3</c:v>
                </c:pt>
                <c:pt idx="439" formatCode="General">
                  <c:v>3</c:v>
                </c:pt>
                <c:pt idx="440" formatCode="General">
                  <c:v>3</c:v>
                </c:pt>
                <c:pt idx="441" formatCode="General">
                  <c:v>3</c:v>
                </c:pt>
                <c:pt idx="442" formatCode="General">
                  <c:v>3</c:v>
                </c:pt>
                <c:pt idx="443" formatCode="General">
                  <c:v>3</c:v>
                </c:pt>
                <c:pt idx="444" formatCode="General">
                  <c:v>3</c:v>
                </c:pt>
                <c:pt idx="445" formatCode="General">
                  <c:v>2.75</c:v>
                </c:pt>
                <c:pt idx="446" formatCode="General">
                  <c:v>2.75</c:v>
                </c:pt>
                <c:pt idx="447" formatCode="General">
                  <c:v>2.75</c:v>
                </c:pt>
                <c:pt idx="448" formatCode="General">
                  <c:v>2.75</c:v>
                </c:pt>
                <c:pt idx="449" formatCode="General">
                  <c:v>2.5</c:v>
                </c:pt>
                <c:pt idx="450" formatCode="General">
                  <c:v>2.5</c:v>
                </c:pt>
                <c:pt idx="451" formatCode="General">
                  <c:v>2.5</c:v>
                </c:pt>
                <c:pt idx="452" formatCode="General">
                  <c:v>2.5</c:v>
                </c:pt>
                <c:pt idx="453" formatCode="General">
                  <c:v>2.5</c:v>
                </c:pt>
                <c:pt idx="454" formatCode="General">
                  <c:v>2.5</c:v>
                </c:pt>
                <c:pt idx="455" formatCode="General">
                  <c:v>2.5</c:v>
                </c:pt>
                <c:pt idx="456" formatCode="General">
                  <c:v>2.5</c:v>
                </c:pt>
                <c:pt idx="457" formatCode="General">
                  <c:v>2.5</c:v>
                </c:pt>
                <c:pt idx="458" formatCode="General">
                  <c:v>2.5</c:v>
                </c:pt>
                <c:pt idx="459" formatCode="General">
                  <c:v>2.5</c:v>
                </c:pt>
                <c:pt idx="460" formatCode="General">
                  <c:v>2.5</c:v>
                </c:pt>
                <c:pt idx="461" formatCode="General">
                  <c:v>2.5</c:v>
                </c:pt>
                <c:pt idx="462" formatCode="General">
                  <c:v>2.25</c:v>
                </c:pt>
                <c:pt idx="463" formatCode="General">
                  <c:v>2.25</c:v>
                </c:pt>
                <c:pt idx="464" formatCode="General">
                  <c:v>2.25</c:v>
                </c:pt>
                <c:pt idx="465" formatCode="General">
                  <c:v>2.25</c:v>
                </c:pt>
                <c:pt idx="466" formatCode="General">
                  <c:v>2.25</c:v>
                </c:pt>
                <c:pt idx="467" formatCode="General">
                  <c:v>2.25</c:v>
                </c:pt>
                <c:pt idx="468" formatCode="General">
                  <c:v>2.25</c:v>
                </c:pt>
                <c:pt idx="469" formatCode="General">
                  <c:v>2.25</c:v>
                </c:pt>
                <c:pt idx="470" formatCode="General">
                  <c:v>2.25</c:v>
                </c:pt>
                <c:pt idx="471" formatCode="General">
                  <c:v>2.25</c:v>
                </c:pt>
                <c:pt idx="472" formatCode="General">
                  <c:v>2.25</c:v>
                </c:pt>
                <c:pt idx="473" formatCode="General">
                  <c:v>2.25</c:v>
                </c:pt>
                <c:pt idx="474" formatCode="General">
                  <c:v>2.25</c:v>
                </c:pt>
                <c:pt idx="475" formatCode="General">
                  <c:v>2.25</c:v>
                </c:pt>
                <c:pt idx="476" formatCode="General">
                  <c:v>2.25</c:v>
                </c:pt>
                <c:pt idx="477" formatCode="General">
                  <c:v>2.25</c:v>
                </c:pt>
                <c:pt idx="478" formatCode="General">
                  <c:v>2.25</c:v>
                </c:pt>
                <c:pt idx="479" formatCode="General">
                  <c:v>2.25</c:v>
                </c:pt>
                <c:pt idx="480" formatCode="General">
                  <c:v>1.75</c:v>
                </c:pt>
                <c:pt idx="481" formatCode="General">
                  <c:v>1.75</c:v>
                </c:pt>
                <c:pt idx="482" formatCode="General">
                  <c:v>1.75</c:v>
                </c:pt>
                <c:pt idx="483" formatCode="General">
                  <c:v>1.75</c:v>
                </c:pt>
                <c:pt idx="484" formatCode="General">
                  <c:v>1.5</c:v>
                </c:pt>
                <c:pt idx="485" formatCode="General">
                  <c:v>1.5</c:v>
                </c:pt>
                <c:pt idx="486" formatCode="General">
                  <c:v>1.5</c:v>
                </c:pt>
                <c:pt idx="487" formatCode="General">
                  <c:v>1.5</c:v>
                </c:pt>
                <c:pt idx="488" formatCode="General">
                  <c:v>1.5</c:v>
                </c:pt>
                <c:pt idx="489" formatCode="General">
                  <c:v>1.5</c:v>
                </c:pt>
                <c:pt idx="490" formatCode="General">
                  <c:v>1.5</c:v>
                </c:pt>
                <c:pt idx="491" formatCode="General">
                  <c:v>1.5</c:v>
                </c:pt>
                <c:pt idx="492" formatCode="General">
                  <c:v>1.5</c:v>
                </c:pt>
                <c:pt idx="493" formatCode="General">
                  <c:v>1.25</c:v>
                </c:pt>
                <c:pt idx="494" formatCode="General">
                  <c:v>1.25</c:v>
                </c:pt>
                <c:pt idx="495" formatCode="General">
                  <c:v>1.25</c:v>
                </c:pt>
                <c:pt idx="496" formatCode="General">
                  <c:v>1.25</c:v>
                </c:pt>
                <c:pt idx="497" formatCode="General">
                  <c:v>1.25</c:v>
                </c:pt>
                <c:pt idx="498" formatCode="General">
                  <c:v>1.25</c:v>
                </c:pt>
                <c:pt idx="499" formatCode="General">
                  <c:v>1.25</c:v>
                </c:pt>
                <c:pt idx="500" formatCode="General">
                  <c:v>1.25</c:v>
                </c:pt>
                <c:pt idx="501" formatCode="General">
                  <c:v>1.25</c:v>
                </c:pt>
                <c:pt idx="502" formatCode="General">
                  <c:v>1.25</c:v>
                </c:pt>
                <c:pt idx="503" formatCode="General">
                  <c:v>1.25</c:v>
                </c:pt>
                <c:pt idx="504" formatCode="General">
                  <c:v>1.25</c:v>
                </c:pt>
                <c:pt idx="505" formatCode="General">
                  <c:v>1.25</c:v>
                </c:pt>
                <c:pt idx="506" formatCode="General">
                  <c:v>1.25</c:v>
                </c:pt>
                <c:pt idx="507" formatCode="General">
                  <c:v>1.25</c:v>
                </c:pt>
                <c:pt idx="508" formatCode="General">
                  <c:v>1.25</c:v>
                </c:pt>
                <c:pt idx="509" formatCode="General">
                  <c:v>1.25</c:v>
                </c:pt>
                <c:pt idx="510" formatCode="General">
                  <c:v>1.25</c:v>
                </c:pt>
                <c:pt idx="511" formatCode="General">
                  <c:v>1.25</c:v>
                </c:pt>
                <c:pt idx="512" formatCode="General">
                  <c:v>1.25</c:v>
                </c:pt>
                <c:pt idx="513" formatCode="General">
                  <c:v>1.25</c:v>
                </c:pt>
                <c:pt idx="514" formatCode="General">
                  <c:v>1.25</c:v>
                </c:pt>
                <c:pt idx="515" formatCode="General">
                  <c:v>1.25</c:v>
                </c:pt>
                <c:pt idx="516" formatCode="General">
                  <c:v>1.25</c:v>
                </c:pt>
                <c:pt idx="517" formatCode="General">
                  <c:v>1.25</c:v>
                </c:pt>
                <c:pt idx="518" formatCode="General">
                  <c:v>1.25</c:v>
                </c:pt>
                <c:pt idx="519" formatCode="General">
                  <c:v>1</c:v>
                </c:pt>
                <c:pt idx="520" formatCode="General">
                  <c:v>1</c:v>
                </c:pt>
                <c:pt idx="521" formatCode="General">
                  <c:v>1</c:v>
                </c:pt>
                <c:pt idx="522" formatCode="General">
                  <c:v>1</c:v>
                </c:pt>
                <c:pt idx="523" formatCode="General">
                  <c:v>1</c:v>
                </c:pt>
                <c:pt idx="524" formatCode="General">
                  <c:v>1</c:v>
                </c:pt>
                <c:pt idx="525" formatCode="General">
                  <c:v>1</c:v>
                </c:pt>
                <c:pt idx="526" formatCode="General">
                  <c:v>1</c:v>
                </c:pt>
                <c:pt idx="527" formatCode="General">
                  <c:v>1</c:v>
                </c:pt>
                <c:pt idx="528" formatCode="General">
                  <c:v>1</c:v>
                </c:pt>
                <c:pt idx="529" formatCode="General">
                  <c:v>1</c:v>
                </c:pt>
                <c:pt idx="530" formatCode="General">
                  <c:v>1</c:v>
                </c:pt>
                <c:pt idx="531" formatCode="General">
                  <c:v>1</c:v>
                </c:pt>
                <c:pt idx="532" formatCode="General">
                  <c:v>1</c:v>
                </c:pt>
                <c:pt idx="533" formatCode="General">
                  <c:v>1</c:v>
                </c:pt>
                <c:pt idx="534" formatCode="General">
                  <c:v>1</c:v>
                </c:pt>
                <c:pt idx="535" formatCode="General">
                  <c:v>1</c:v>
                </c:pt>
                <c:pt idx="536" formatCode="General">
                  <c:v>1</c:v>
                </c:pt>
                <c:pt idx="537" formatCode="General">
                  <c:v>1</c:v>
                </c:pt>
                <c:pt idx="538" formatCode="General">
                  <c:v>1</c:v>
                </c:pt>
                <c:pt idx="539" formatCode="General">
                  <c:v>1</c:v>
                </c:pt>
                <c:pt idx="540" formatCode="General">
                  <c:v>1</c:v>
                </c:pt>
                <c:pt idx="541" formatCode="General">
                  <c:v>1</c:v>
                </c:pt>
                <c:pt idx="542" formatCode="General">
                  <c:v>1</c:v>
                </c:pt>
                <c:pt idx="543" formatCode="General">
                  <c:v>1</c:v>
                </c:pt>
                <c:pt idx="544" formatCode="General">
                  <c:v>1</c:v>
                </c:pt>
                <c:pt idx="545" formatCode="General">
                  <c:v>1</c:v>
                </c:pt>
                <c:pt idx="546" formatCode="General">
                  <c:v>1</c:v>
                </c:pt>
                <c:pt idx="547" formatCode="General">
                  <c:v>1</c:v>
                </c:pt>
                <c:pt idx="548" formatCode="General">
                  <c:v>1</c:v>
                </c:pt>
                <c:pt idx="549" formatCode="General">
                  <c:v>1</c:v>
                </c:pt>
                <c:pt idx="550" formatCode="General">
                  <c:v>1</c:v>
                </c:pt>
                <c:pt idx="551" formatCode="General">
                  <c:v>1</c:v>
                </c:pt>
                <c:pt idx="552" formatCode="General">
                  <c:v>1</c:v>
                </c:pt>
                <c:pt idx="553" formatCode="General">
                  <c:v>1</c:v>
                </c:pt>
                <c:pt idx="554" formatCode="General">
                  <c:v>1</c:v>
                </c:pt>
                <c:pt idx="555" formatCode="General">
                  <c:v>1</c:v>
                </c:pt>
                <c:pt idx="556" formatCode="General">
                  <c:v>1</c:v>
                </c:pt>
                <c:pt idx="557" formatCode="General">
                  <c:v>1</c:v>
                </c:pt>
                <c:pt idx="558" formatCode="General">
                  <c:v>1</c:v>
                </c:pt>
                <c:pt idx="559" formatCode="General">
                  <c:v>1</c:v>
                </c:pt>
                <c:pt idx="560" formatCode="General">
                  <c:v>1</c:v>
                </c:pt>
                <c:pt idx="561" formatCode="General">
                  <c:v>1</c:v>
                </c:pt>
                <c:pt idx="562" formatCode="General">
                  <c:v>1</c:v>
                </c:pt>
                <c:pt idx="563" formatCode="General">
                  <c:v>1</c:v>
                </c:pt>
                <c:pt idx="564" formatCode="General">
                  <c:v>1</c:v>
                </c:pt>
                <c:pt idx="565" formatCode="General">
                  <c:v>1</c:v>
                </c:pt>
                <c:pt idx="566" formatCode="General">
                  <c:v>1</c:v>
                </c:pt>
                <c:pt idx="567" formatCode="General">
                  <c:v>1</c:v>
                </c:pt>
                <c:pt idx="568" formatCode="General">
                  <c:v>1</c:v>
                </c:pt>
                <c:pt idx="569" formatCode="General">
                  <c:v>1</c:v>
                </c:pt>
                <c:pt idx="570" formatCode="General">
                  <c:v>1</c:v>
                </c:pt>
                <c:pt idx="571" formatCode="General">
                  <c:v>1</c:v>
                </c:pt>
                <c:pt idx="572" formatCode="General">
                  <c:v>1</c:v>
                </c:pt>
                <c:pt idx="573" formatCode="General">
                  <c:v>1</c:v>
                </c:pt>
                <c:pt idx="574" formatCode="General">
                  <c:v>1</c:v>
                </c:pt>
                <c:pt idx="575" formatCode="General">
                  <c:v>1</c:v>
                </c:pt>
                <c:pt idx="576" formatCode="General">
                  <c:v>1</c:v>
                </c:pt>
                <c:pt idx="577" formatCode="General">
                  <c:v>1</c:v>
                </c:pt>
                <c:pt idx="578" formatCode="General">
                  <c:v>1</c:v>
                </c:pt>
                <c:pt idx="579" formatCode="General">
                  <c:v>1</c:v>
                </c:pt>
                <c:pt idx="580" formatCode="General">
                  <c:v>1</c:v>
                </c:pt>
                <c:pt idx="581" formatCode="General">
                  <c:v>1</c:v>
                </c:pt>
                <c:pt idx="582" formatCode="General">
                  <c:v>1</c:v>
                </c:pt>
                <c:pt idx="583" formatCode="General">
                  <c:v>1</c:v>
                </c:pt>
                <c:pt idx="584" formatCode="General">
                  <c:v>1.5</c:v>
                </c:pt>
                <c:pt idx="585" formatCode="General">
                  <c:v>1.5</c:v>
                </c:pt>
                <c:pt idx="586" formatCode="General">
                  <c:v>1.5</c:v>
                </c:pt>
                <c:pt idx="587" formatCode="General">
                  <c:v>1.5</c:v>
                </c:pt>
                <c:pt idx="588" formatCode="General">
                  <c:v>2</c:v>
                </c:pt>
                <c:pt idx="589" formatCode="General">
                  <c:v>2</c:v>
                </c:pt>
                <c:pt idx="590" formatCode="General">
                  <c:v>2</c:v>
                </c:pt>
                <c:pt idx="591" formatCode="General">
                  <c:v>2</c:v>
                </c:pt>
                <c:pt idx="592" formatCode="General">
                  <c:v>2</c:v>
                </c:pt>
                <c:pt idx="593" formatCode="General">
                  <c:v>2.5</c:v>
                </c:pt>
                <c:pt idx="594" formatCode="General">
                  <c:v>2.5</c:v>
                </c:pt>
                <c:pt idx="595" formatCode="General">
                  <c:v>2.5</c:v>
                </c:pt>
                <c:pt idx="596" formatCode="General">
                  <c:v>2.5</c:v>
                </c:pt>
                <c:pt idx="597" formatCode="General">
                  <c:v>2.5</c:v>
                </c:pt>
                <c:pt idx="598" formatCode="General">
                  <c:v>2.5</c:v>
                </c:pt>
                <c:pt idx="599" formatCode="General">
                  <c:v>2.5</c:v>
                </c:pt>
                <c:pt idx="600" formatCode="General">
                  <c:v>2.5</c:v>
                </c:pt>
                <c:pt idx="601" formatCode="General">
                  <c:v>2.75</c:v>
                </c:pt>
                <c:pt idx="602" formatCode="General">
                  <c:v>2.75</c:v>
                </c:pt>
                <c:pt idx="603" formatCode="General">
                  <c:v>2.75</c:v>
                </c:pt>
                <c:pt idx="604" formatCode="General">
                  <c:v>2.75</c:v>
                </c:pt>
                <c:pt idx="605" formatCode="General">
                  <c:v>2.75</c:v>
                </c:pt>
                <c:pt idx="606" formatCode="General">
                  <c:v>3</c:v>
                </c:pt>
                <c:pt idx="607" formatCode="General">
                  <c:v>3</c:v>
                </c:pt>
                <c:pt idx="608" formatCode="General">
                  <c:v>3</c:v>
                </c:pt>
                <c:pt idx="609" formatCode="General">
                  <c:v>3</c:v>
                </c:pt>
                <c:pt idx="610" formatCode="General">
                  <c:v>3.5</c:v>
                </c:pt>
                <c:pt idx="611" formatCode="General">
                  <c:v>3.5</c:v>
                </c:pt>
                <c:pt idx="612" formatCode="General">
                  <c:v>3.5</c:v>
                </c:pt>
                <c:pt idx="613" formatCode="General">
                  <c:v>3.5</c:v>
                </c:pt>
                <c:pt idx="614" formatCode="General">
                  <c:v>4</c:v>
                </c:pt>
                <c:pt idx="615" formatCode="General">
                  <c:v>4</c:v>
                </c:pt>
                <c:pt idx="616" formatCode="General">
                  <c:v>4</c:v>
                </c:pt>
                <c:pt idx="617" formatCode="General">
                  <c:v>4</c:v>
                </c:pt>
                <c:pt idx="618" formatCode="General">
                  <c:v>4.5</c:v>
                </c:pt>
                <c:pt idx="619" formatCode="General">
                  <c:v>4.5</c:v>
                </c:pt>
                <c:pt idx="620" formatCode="General">
                  <c:v>4.5</c:v>
                </c:pt>
                <c:pt idx="621" formatCode="General">
                  <c:v>4.5</c:v>
                </c:pt>
                <c:pt idx="622" formatCode="General">
                  <c:v>4.5</c:v>
                </c:pt>
                <c:pt idx="623" formatCode="General">
                  <c:v>5</c:v>
                </c:pt>
                <c:pt idx="624" formatCode="General">
                  <c:v>5</c:v>
                </c:pt>
                <c:pt idx="625" formatCode="General">
                  <c:v>5</c:v>
                </c:pt>
                <c:pt idx="626" formatCode="General">
                  <c:v>5</c:v>
                </c:pt>
                <c:pt idx="627" formatCode="General">
                  <c:v>5</c:v>
                </c:pt>
                <c:pt idx="628" formatCode="General">
                  <c:v>5.25</c:v>
                </c:pt>
                <c:pt idx="629" formatCode="General">
                  <c:v>5.25</c:v>
                </c:pt>
                <c:pt idx="630" formatCode="General">
                  <c:v>5.25</c:v>
                </c:pt>
                <c:pt idx="631" formatCode="General">
                  <c:v>5.25</c:v>
                </c:pt>
                <c:pt idx="632" formatCode="General">
                  <c:v>5.5</c:v>
                </c:pt>
                <c:pt idx="633" formatCode="General">
                  <c:v>5.5</c:v>
                </c:pt>
                <c:pt idx="634" formatCode="General">
                  <c:v>5.5</c:v>
                </c:pt>
                <c:pt idx="635" formatCode="General">
                  <c:v>5.5</c:v>
                </c:pt>
                <c:pt idx="636" formatCode="General">
                  <c:v>5.75</c:v>
                </c:pt>
                <c:pt idx="637" formatCode="General">
                  <c:v>5.75</c:v>
                </c:pt>
                <c:pt idx="638" formatCode="General">
                  <c:v>5.75</c:v>
                </c:pt>
                <c:pt idx="639" formatCode="General">
                  <c:v>5.75</c:v>
                </c:pt>
                <c:pt idx="640" formatCode="General">
                  <c:v>6</c:v>
                </c:pt>
                <c:pt idx="641" formatCode="General">
                  <c:v>6</c:v>
                </c:pt>
                <c:pt idx="642" formatCode="General">
                  <c:v>6</c:v>
                </c:pt>
                <c:pt idx="643" formatCode="General">
                  <c:v>6</c:v>
                </c:pt>
                <c:pt idx="644" formatCode="General">
                  <c:v>6</c:v>
                </c:pt>
                <c:pt idx="645" formatCode="General">
                  <c:v>6</c:v>
                </c:pt>
                <c:pt idx="646" formatCode="General">
                  <c:v>6</c:v>
                </c:pt>
                <c:pt idx="647" formatCode="General">
                  <c:v>6</c:v>
                </c:pt>
                <c:pt idx="648" formatCode="General">
                  <c:v>6.25</c:v>
                </c:pt>
                <c:pt idx="649" formatCode="General">
                  <c:v>6.25</c:v>
                </c:pt>
                <c:pt idx="650" formatCode="General">
                  <c:v>6.25</c:v>
                </c:pt>
                <c:pt idx="651" formatCode="General">
                  <c:v>6.25</c:v>
                </c:pt>
                <c:pt idx="652" formatCode="General">
                  <c:v>6.5</c:v>
                </c:pt>
                <c:pt idx="653" formatCode="General">
                  <c:v>6.5</c:v>
                </c:pt>
                <c:pt idx="654" formatCode="General">
                  <c:v>6.5</c:v>
                </c:pt>
                <c:pt idx="655" formatCode="General">
                  <c:v>6.5</c:v>
                </c:pt>
                <c:pt idx="656" formatCode="General">
                  <c:v>6.5</c:v>
                </c:pt>
                <c:pt idx="657" formatCode="General">
                  <c:v>6.5</c:v>
                </c:pt>
                <c:pt idx="658" formatCode="General">
                  <c:v>6.5</c:v>
                </c:pt>
                <c:pt idx="659" formatCode="General">
                  <c:v>6.5</c:v>
                </c:pt>
                <c:pt idx="660" formatCode="General">
                  <c:v>6.5</c:v>
                </c:pt>
                <c:pt idx="661" formatCode="General">
                  <c:v>6.5</c:v>
                </c:pt>
                <c:pt idx="662" formatCode="General">
                  <c:v>6.5</c:v>
                </c:pt>
                <c:pt idx="663" formatCode="General">
                  <c:v>6.5</c:v>
                </c:pt>
                <c:pt idx="664" formatCode="General">
                  <c:v>6.5</c:v>
                </c:pt>
                <c:pt idx="665" formatCode="General">
                  <c:v>6.5</c:v>
                </c:pt>
                <c:pt idx="666" formatCode="General">
                  <c:v>6.5</c:v>
                </c:pt>
                <c:pt idx="667" formatCode="General">
                  <c:v>6.5</c:v>
                </c:pt>
                <c:pt idx="668" formatCode="General">
                  <c:v>6.5</c:v>
                </c:pt>
                <c:pt idx="669" formatCode="General">
                  <c:v>6.5</c:v>
                </c:pt>
                <c:pt idx="670" formatCode="General">
                  <c:v>6.5</c:v>
                </c:pt>
                <c:pt idx="671" formatCode="General">
                  <c:v>6.5</c:v>
                </c:pt>
                <c:pt idx="672" formatCode="General">
                  <c:v>6.5</c:v>
                </c:pt>
                <c:pt idx="673" formatCode="General">
                  <c:v>6.5</c:v>
                </c:pt>
                <c:pt idx="674" formatCode="General">
                  <c:v>6.5</c:v>
                </c:pt>
                <c:pt idx="675" formatCode="General">
                  <c:v>6.5</c:v>
                </c:pt>
                <c:pt idx="676" formatCode="General">
                  <c:v>6.5</c:v>
                </c:pt>
                <c:pt idx="677" formatCode="General">
                  <c:v>6.5</c:v>
                </c:pt>
                <c:pt idx="678" formatCode="General">
                  <c:v>6.5</c:v>
                </c:pt>
                <c:pt idx="679" formatCode="General">
                  <c:v>6.5</c:v>
                </c:pt>
                <c:pt idx="680" formatCode="General">
                  <c:v>6.5</c:v>
                </c:pt>
                <c:pt idx="681" formatCode="General">
                  <c:v>6.5</c:v>
                </c:pt>
                <c:pt idx="682" formatCode="General">
                  <c:v>6.5</c:v>
                </c:pt>
                <c:pt idx="683" formatCode="General">
                  <c:v>6.5</c:v>
                </c:pt>
                <c:pt idx="684" formatCode="General">
                  <c:v>6.5</c:v>
                </c:pt>
                <c:pt idx="685" formatCode="General">
                  <c:v>6.5</c:v>
                </c:pt>
                <c:pt idx="686" formatCode="General">
                  <c:v>6.5</c:v>
                </c:pt>
                <c:pt idx="687" formatCode="General">
                  <c:v>6.5</c:v>
                </c:pt>
                <c:pt idx="688" formatCode="General">
                  <c:v>6.5</c:v>
                </c:pt>
                <c:pt idx="689" formatCode="General">
                  <c:v>6.5</c:v>
                </c:pt>
                <c:pt idx="690" formatCode="General">
                  <c:v>6.5</c:v>
                </c:pt>
                <c:pt idx="691" formatCode="General">
                  <c:v>6.5</c:v>
                </c:pt>
                <c:pt idx="692" formatCode="General">
                  <c:v>6.5</c:v>
                </c:pt>
                <c:pt idx="693" formatCode="General">
                  <c:v>6.5</c:v>
                </c:pt>
                <c:pt idx="694" formatCode="General">
                  <c:v>6.5</c:v>
                </c:pt>
                <c:pt idx="695" formatCode="General">
                  <c:v>6.5</c:v>
                </c:pt>
                <c:pt idx="696" formatCode="General">
                  <c:v>6.5</c:v>
                </c:pt>
                <c:pt idx="697" formatCode="General">
                  <c:v>6.5</c:v>
                </c:pt>
                <c:pt idx="698" formatCode="General">
                  <c:v>6.5</c:v>
                </c:pt>
                <c:pt idx="699" formatCode="General">
                  <c:v>6.5</c:v>
                </c:pt>
                <c:pt idx="700" formatCode="General">
                  <c:v>6.5</c:v>
                </c:pt>
                <c:pt idx="701" formatCode="General">
                  <c:v>6.5</c:v>
                </c:pt>
                <c:pt idx="702" formatCode="General">
                  <c:v>6.25</c:v>
                </c:pt>
                <c:pt idx="703" formatCode="General">
                  <c:v>6.25</c:v>
                </c:pt>
                <c:pt idx="704" formatCode="General">
                  <c:v>6.25</c:v>
                </c:pt>
                <c:pt idx="705" formatCode="General">
                  <c:v>6.25</c:v>
                </c:pt>
                <c:pt idx="706" formatCode="General">
                  <c:v>6</c:v>
                </c:pt>
                <c:pt idx="707" formatCode="General">
                  <c:v>6</c:v>
                </c:pt>
                <c:pt idx="708" formatCode="General">
                  <c:v>6</c:v>
                </c:pt>
                <c:pt idx="709" formatCode="General">
                  <c:v>6</c:v>
                </c:pt>
                <c:pt idx="710" formatCode="General">
                  <c:v>6</c:v>
                </c:pt>
                <c:pt idx="711" formatCode="General">
                  <c:v>6</c:v>
                </c:pt>
                <c:pt idx="712" formatCode="General">
                  <c:v>6</c:v>
                </c:pt>
                <c:pt idx="713" formatCode="General">
                  <c:v>6</c:v>
                </c:pt>
                <c:pt idx="714" formatCode="General">
                  <c:v>6</c:v>
                </c:pt>
                <c:pt idx="715" formatCode="General">
                  <c:v>5.75</c:v>
                </c:pt>
                <c:pt idx="716" formatCode="General">
                  <c:v>5.75</c:v>
                </c:pt>
                <c:pt idx="717" formatCode="General">
                  <c:v>5.75</c:v>
                </c:pt>
                <c:pt idx="718" formatCode="General">
                  <c:v>5.75</c:v>
                </c:pt>
                <c:pt idx="719" formatCode="General">
                  <c:v>5.75</c:v>
                </c:pt>
                <c:pt idx="720" formatCode="General">
                  <c:v>5.75</c:v>
                </c:pt>
                <c:pt idx="721" formatCode="General">
                  <c:v>5.75</c:v>
                </c:pt>
                <c:pt idx="722" formatCode="General">
                  <c:v>5.75</c:v>
                </c:pt>
                <c:pt idx="723" formatCode="General">
                  <c:v>5.75</c:v>
                </c:pt>
                <c:pt idx="724" formatCode="General">
                  <c:v>5.75</c:v>
                </c:pt>
                <c:pt idx="725" formatCode="General">
                  <c:v>5.75</c:v>
                </c:pt>
                <c:pt idx="726" formatCode="General">
                  <c:v>5.75</c:v>
                </c:pt>
                <c:pt idx="727" formatCode="General">
                  <c:v>5.75</c:v>
                </c:pt>
                <c:pt idx="728" formatCode="General">
                  <c:v>5.75</c:v>
                </c:pt>
                <c:pt idx="729" formatCode="General">
                  <c:v>5.75</c:v>
                </c:pt>
                <c:pt idx="730" formatCode="General">
                  <c:v>5.75</c:v>
                </c:pt>
                <c:pt idx="731" formatCode="General">
                  <c:v>5.75</c:v>
                </c:pt>
                <c:pt idx="732" formatCode="General">
                  <c:v>5.75</c:v>
                </c:pt>
                <c:pt idx="733" formatCode="General">
                  <c:v>5.75</c:v>
                </c:pt>
                <c:pt idx="734" formatCode="General">
                  <c:v>5.75</c:v>
                </c:pt>
                <c:pt idx="735" formatCode="General">
                  <c:v>5.75</c:v>
                </c:pt>
                <c:pt idx="736" formatCode="General">
                  <c:v>5.75</c:v>
                </c:pt>
                <c:pt idx="737" formatCode="General">
                  <c:v>5.75</c:v>
                </c:pt>
                <c:pt idx="738" formatCode="General">
                  <c:v>5.75</c:v>
                </c:pt>
                <c:pt idx="739" formatCode="General">
                  <c:v>5.75</c:v>
                </c:pt>
                <c:pt idx="740" formatCode="General">
                  <c:v>5.75</c:v>
                </c:pt>
                <c:pt idx="741" formatCode="General">
                  <c:v>5.75</c:v>
                </c:pt>
                <c:pt idx="742" formatCode="General">
                  <c:v>5.75</c:v>
                </c:pt>
                <c:pt idx="743" formatCode="General">
                  <c:v>5.75</c:v>
                </c:pt>
                <c:pt idx="744" formatCode="General">
                  <c:v>5.75</c:v>
                </c:pt>
                <c:pt idx="745" formatCode="General">
                  <c:v>5.75</c:v>
                </c:pt>
                <c:pt idx="746" formatCode="General">
                  <c:v>5.75</c:v>
                </c:pt>
                <c:pt idx="747" formatCode="General">
                  <c:v>5.75</c:v>
                </c:pt>
                <c:pt idx="748" formatCode="General">
                  <c:v>5.75</c:v>
                </c:pt>
                <c:pt idx="749" formatCode="General">
                  <c:v>5.75</c:v>
                </c:pt>
                <c:pt idx="750" formatCode="General">
                  <c:v>5.75</c:v>
                </c:pt>
                <c:pt idx="751" formatCode="General">
                  <c:v>5.75</c:v>
                </c:pt>
                <c:pt idx="752" formatCode="General">
                  <c:v>5.75</c:v>
                </c:pt>
                <c:pt idx="753" formatCode="General">
                  <c:v>5.75</c:v>
                </c:pt>
                <c:pt idx="754" formatCode="General">
                  <c:v>5.75</c:v>
                </c:pt>
                <c:pt idx="755" formatCode="General">
                  <c:v>5.75</c:v>
                </c:pt>
                <c:pt idx="756" formatCode="General">
                  <c:v>5.75</c:v>
                </c:pt>
                <c:pt idx="757" formatCode="General">
                  <c:v>5.75</c:v>
                </c:pt>
                <c:pt idx="758" formatCode="General">
                  <c:v>5.75</c:v>
                </c:pt>
                <c:pt idx="759" formatCode="General">
                  <c:v>5.75</c:v>
                </c:pt>
                <c:pt idx="760" formatCode="General">
                  <c:v>5.75</c:v>
                </c:pt>
                <c:pt idx="761" formatCode="General">
                  <c:v>5.75</c:v>
                </c:pt>
                <c:pt idx="762" formatCode="General">
                  <c:v>5.75</c:v>
                </c:pt>
                <c:pt idx="763" formatCode="General">
                  <c:v>5.75</c:v>
                </c:pt>
                <c:pt idx="764" formatCode="General">
                  <c:v>5.75</c:v>
                </c:pt>
                <c:pt idx="765" formatCode="General">
                  <c:v>5.75</c:v>
                </c:pt>
                <c:pt idx="766" formatCode="General">
                  <c:v>5.75</c:v>
                </c:pt>
                <c:pt idx="767" formatCode="General">
                  <c:v>5.75</c:v>
                </c:pt>
                <c:pt idx="768" formatCode="General">
                  <c:v>5.75</c:v>
                </c:pt>
                <c:pt idx="769" formatCode="General">
                  <c:v>5.75</c:v>
                </c:pt>
                <c:pt idx="770" formatCode="General">
                  <c:v>5.75</c:v>
                </c:pt>
                <c:pt idx="771" formatCode="General">
                  <c:v>5.75</c:v>
                </c:pt>
                <c:pt idx="772" formatCode="General">
                  <c:v>5.75</c:v>
                </c:pt>
                <c:pt idx="773" formatCode="General">
                  <c:v>5.75</c:v>
                </c:pt>
                <c:pt idx="774" formatCode="General">
                  <c:v>5.75</c:v>
                </c:pt>
                <c:pt idx="775" formatCode="General">
                  <c:v>5.75</c:v>
                </c:pt>
                <c:pt idx="776" formatCode="General">
                  <c:v>5.75</c:v>
                </c:pt>
                <c:pt idx="777" formatCode="General">
                  <c:v>5.75</c:v>
                </c:pt>
                <c:pt idx="778" formatCode="General">
                  <c:v>5.75</c:v>
                </c:pt>
                <c:pt idx="779" formatCode="General">
                  <c:v>5.75</c:v>
                </c:pt>
                <c:pt idx="780" formatCode="General">
                  <c:v>5.75</c:v>
                </c:pt>
                <c:pt idx="781" formatCode="General">
                  <c:v>5.75</c:v>
                </c:pt>
                <c:pt idx="782" formatCode="General">
                  <c:v>5.75</c:v>
                </c:pt>
                <c:pt idx="783" formatCode="General">
                  <c:v>5.75</c:v>
                </c:pt>
                <c:pt idx="784" formatCode="General">
                  <c:v>5.75</c:v>
                </c:pt>
                <c:pt idx="785" formatCode="General">
                  <c:v>5.75</c:v>
                </c:pt>
                <c:pt idx="786" formatCode="General">
                  <c:v>5.75</c:v>
                </c:pt>
                <c:pt idx="787" formatCode="General">
                  <c:v>5.75</c:v>
                </c:pt>
                <c:pt idx="788" formatCode="General">
                  <c:v>5.75</c:v>
                </c:pt>
                <c:pt idx="789" formatCode="General">
                  <c:v>5.75</c:v>
                </c:pt>
                <c:pt idx="790" formatCode="General">
                  <c:v>5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2B-41CE-9760-DAD93B769A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06202272"/>
        <c:axId val="-1206200640"/>
      </c:lineChart>
      <c:dateAx>
        <c:axId val="-1206187040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yyyy;@" sourceLinked="0"/>
        <c:majorTickMark val="out"/>
        <c:minorTickMark val="out"/>
        <c:tickLblPos val="nextTo"/>
        <c:txPr>
          <a:bodyPr rot="-2700000" vert="horz"/>
          <a:lstStyle/>
          <a:p>
            <a:pPr>
              <a:defRPr/>
            </a:pPr>
            <a:endParaRPr lang="en-US"/>
          </a:p>
        </c:txPr>
        <c:crossAx val="-1206194112"/>
        <c:crosses val="autoZero"/>
        <c:auto val="1"/>
        <c:lblOffset val="100"/>
        <c:baseTimeUnit val="days"/>
        <c:majorUnit val="12"/>
        <c:majorTimeUnit val="months"/>
        <c:minorUnit val="1"/>
        <c:minorTimeUnit val="months"/>
      </c:dateAx>
      <c:valAx>
        <c:axId val="-1206194112"/>
        <c:scaling>
          <c:orientation val="minMax"/>
          <c:max val="18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206187040"/>
        <c:crosses val="autoZero"/>
        <c:crossBetween val="between"/>
        <c:majorUnit val="2"/>
      </c:valAx>
      <c:dateAx>
        <c:axId val="-1206202272"/>
        <c:scaling>
          <c:orientation val="minMax"/>
        </c:scaling>
        <c:delete val="1"/>
        <c:axPos val="b"/>
        <c:numFmt formatCode="[$-409]d\-mmm\-yyyy;@" sourceLinked="1"/>
        <c:majorTickMark val="out"/>
        <c:minorTickMark val="none"/>
        <c:tickLblPos val="nextTo"/>
        <c:crossAx val="-1206200640"/>
        <c:crosses val="autoZero"/>
        <c:auto val="1"/>
        <c:lblOffset val="100"/>
        <c:baseTimeUnit val="days"/>
      </c:dateAx>
      <c:valAx>
        <c:axId val="-1206200640"/>
        <c:scaling>
          <c:orientation val="minMax"/>
          <c:max val="18"/>
          <c:min val="0"/>
        </c:scaling>
        <c:delete val="0"/>
        <c:axPos val="r"/>
        <c:numFmt formatCode="General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206202272"/>
        <c:crosses val="max"/>
        <c:crossBetween val="between"/>
        <c:majorUnit val="2"/>
      </c:valAx>
    </c:plotArea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341114730365547E-2"/>
          <c:y val="5.9154810298102982E-2"/>
          <c:w val="0.87289653456387983"/>
          <c:h val="0.74602218834688339"/>
        </c:manualLayout>
      </c:layout>
      <c:lineChart>
        <c:grouping val="standard"/>
        <c:varyColors val="0"/>
        <c:ser>
          <c:idx val="0"/>
          <c:order val="0"/>
          <c:tx>
            <c:strRef>
              <c:f>'T5-9'!$B$5</c:f>
              <c:strCache>
                <c:ptCount val="1"/>
                <c:pt idx="0">
                  <c:v>Češka</c:v>
                </c:pt>
              </c:strCache>
            </c:strRef>
          </c:tx>
          <c:spPr>
            <a:ln w="2222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'T5-9'!$D$4:$AC$4</c:f>
              <c:numCache>
                <c:formatCode>General</c:formatCode>
                <c:ptCount val="26"/>
                <c:pt idx="0">
                  <c:v>2024</c:v>
                </c:pt>
                <c:pt idx="12">
                  <c:v>2025</c:v>
                </c:pt>
                <c:pt idx="24">
                  <c:v>2026</c:v>
                </c:pt>
              </c:numCache>
            </c:numRef>
          </c:cat>
          <c:val>
            <c:numRef>
              <c:f>'T5-9'!$D$5:$AC$5</c:f>
              <c:numCache>
                <c:formatCode>General</c:formatCode>
                <c:ptCount val="26"/>
                <c:pt idx="0">
                  <c:v>6.75</c:v>
                </c:pt>
                <c:pt idx="1">
                  <c:v>6.25</c:v>
                </c:pt>
                <c:pt idx="2">
                  <c:v>5.75</c:v>
                </c:pt>
                <c:pt idx="3">
                  <c:v>5.75</c:v>
                </c:pt>
                <c:pt idx="4">
                  <c:v>5.25</c:v>
                </c:pt>
                <c:pt idx="5">
                  <c:v>4.75</c:v>
                </c:pt>
                <c:pt idx="6">
                  <c:v>4.75</c:v>
                </c:pt>
                <c:pt idx="7">
                  <c:v>4.5</c:v>
                </c:pt>
                <c:pt idx="8">
                  <c:v>4.25</c:v>
                </c:pt>
                <c:pt idx="9">
                  <c:v>4.25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.75</c:v>
                </c:pt>
                <c:pt idx="14">
                  <c:v>3.75</c:v>
                </c:pt>
                <c:pt idx="15">
                  <c:v>3.75</c:v>
                </c:pt>
                <c:pt idx="16">
                  <c:v>3.5</c:v>
                </c:pt>
                <c:pt idx="17">
                  <c:v>3.5</c:v>
                </c:pt>
                <c:pt idx="18">
                  <c:v>3.5</c:v>
                </c:pt>
                <c:pt idx="19">
                  <c:v>3.5</c:v>
                </c:pt>
                <c:pt idx="20">
                  <c:v>3.5</c:v>
                </c:pt>
                <c:pt idx="21">
                  <c:v>3.5</c:v>
                </c:pt>
                <c:pt idx="22">
                  <c:v>3.5</c:v>
                </c:pt>
                <c:pt idx="23">
                  <c:v>3.5</c:v>
                </c:pt>
                <c:pt idx="24">
                  <c:v>3.5</c:v>
                </c:pt>
                <c:pt idx="25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DD5-45C9-BD44-560C3391207D}"/>
            </c:ext>
          </c:extLst>
        </c:ser>
        <c:ser>
          <c:idx val="1"/>
          <c:order val="1"/>
          <c:tx>
            <c:strRef>
              <c:f>'T5-9'!$B$6</c:f>
              <c:strCache>
                <c:ptCount val="1"/>
                <c:pt idx="0">
                  <c:v>Mađarska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T5-9'!$D$4:$AC$4</c:f>
              <c:numCache>
                <c:formatCode>General</c:formatCode>
                <c:ptCount val="26"/>
                <c:pt idx="0">
                  <c:v>2024</c:v>
                </c:pt>
                <c:pt idx="12">
                  <c:v>2025</c:v>
                </c:pt>
                <c:pt idx="24">
                  <c:v>2026</c:v>
                </c:pt>
              </c:numCache>
            </c:numRef>
          </c:cat>
          <c:val>
            <c:numRef>
              <c:f>'T5-9'!$D$6:$AC$6</c:f>
              <c:numCache>
                <c:formatCode>General</c:formatCode>
                <c:ptCount val="26"/>
                <c:pt idx="0">
                  <c:v>10</c:v>
                </c:pt>
                <c:pt idx="1">
                  <c:v>9</c:v>
                </c:pt>
                <c:pt idx="2">
                  <c:v>8.25</c:v>
                </c:pt>
                <c:pt idx="3">
                  <c:v>7.75</c:v>
                </c:pt>
                <c:pt idx="4">
                  <c:v>7.25</c:v>
                </c:pt>
                <c:pt idx="5">
                  <c:v>7</c:v>
                </c:pt>
                <c:pt idx="6">
                  <c:v>6.75</c:v>
                </c:pt>
                <c:pt idx="7">
                  <c:v>6.75</c:v>
                </c:pt>
                <c:pt idx="8">
                  <c:v>6.5</c:v>
                </c:pt>
                <c:pt idx="9">
                  <c:v>6.5</c:v>
                </c:pt>
                <c:pt idx="10">
                  <c:v>6.5</c:v>
                </c:pt>
                <c:pt idx="11">
                  <c:v>6.5</c:v>
                </c:pt>
                <c:pt idx="12">
                  <c:v>6.5</c:v>
                </c:pt>
                <c:pt idx="13">
                  <c:v>6.5</c:v>
                </c:pt>
                <c:pt idx="14">
                  <c:v>6.5</c:v>
                </c:pt>
                <c:pt idx="15">
                  <c:v>6.5</c:v>
                </c:pt>
                <c:pt idx="16">
                  <c:v>6.5</c:v>
                </c:pt>
                <c:pt idx="17">
                  <c:v>6.5</c:v>
                </c:pt>
                <c:pt idx="18">
                  <c:v>6.5</c:v>
                </c:pt>
                <c:pt idx="19">
                  <c:v>6.5</c:v>
                </c:pt>
                <c:pt idx="20">
                  <c:v>6.5</c:v>
                </c:pt>
                <c:pt idx="21">
                  <c:v>6.5</c:v>
                </c:pt>
                <c:pt idx="22">
                  <c:v>6.5</c:v>
                </c:pt>
                <c:pt idx="23">
                  <c:v>6.5</c:v>
                </c:pt>
                <c:pt idx="24">
                  <c:v>6.5</c:v>
                </c:pt>
                <c:pt idx="25">
                  <c:v>6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DD5-45C9-BD44-560C3391207D}"/>
            </c:ext>
          </c:extLst>
        </c:ser>
        <c:ser>
          <c:idx val="2"/>
          <c:order val="2"/>
          <c:tx>
            <c:strRef>
              <c:f>'T5-9'!$B$7</c:f>
              <c:strCache>
                <c:ptCount val="1"/>
                <c:pt idx="0">
                  <c:v>Poljska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T5-9'!$D$4:$AC$4</c:f>
              <c:numCache>
                <c:formatCode>General</c:formatCode>
                <c:ptCount val="26"/>
                <c:pt idx="0">
                  <c:v>2024</c:v>
                </c:pt>
                <c:pt idx="12">
                  <c:v>2025</c:v>
                </c:pt>
                <c:pt idx="24">
                  <c:v>2026</c:v>
                </c:pt>
              </c:numCache>
            </c:numRef>
          </c:cat>
          <c:val>
            <c:numRef>
              <c:f>'T5-9'!$D$7:$AC$7</c:f>
              <c:numCache>
                <c:formatCode>General</c:formatCode>
                <c:ptCount val="26"/>
                <c:pt idx="0">
                  <c:v>5.75</c:v>
                </c:pt>
                <c:pt idx="1">
                  <c:v>5.75</c:v>
                </c:pt>
                <c:pt idx="2">
                  <c:v>5.75</c:v>
                </c:pt>
                <c:pt idx="3">
                  <c:v>5.75</c:v>
                </c:pt>
                <c:pt idx="4">
                  <c:v>5.75</c:v>
                </c:pt>
                <c:pt idx="5">
                  <c:v>5.75</c:v>
                </c:pt>
                <c:pt idx="6">
                  <c:v>5.75</c:v>
                </c:pt>
                <c:pt idx="7">
                  <c:v>5.75</c:v>
                </c:pt>
                <c:pt idx="8">
                  <c:v>5.75</c:v>
                </c:pt>
                <c:pt idx="9">
                  <c:v>5.75</c:v>
                </c:pt>
                <c:pt idx="10">
                  <c:v>5.75</c:v>
                </c:pt>
                <c:pt idx="11">
                  <c:v>5.75</c:v>
                </c:pt>
                <c:pt idx="12">
                  <c:v>5.75</c:v>
                </c:pt>
                <c:pt idx="13">
                  <c:v>5.75</c:v>
                </c:pt>
                <c:pt idx="14">
                  <c:v>5.75</c:v>
                </c:pt>
                <c:pt idx="15">
                  <c:v>5.75</c:v>
                </c:pt>
                <c:pt idx="16">
                  <c:v>5.25</c:v>
                </c:pt>
                <c:pt idx="17">
                  <c:v>5.25</c:v>
                </c:pt>
                <c:pt idx="18">
                  <c:v>5</c:v>
                </c:pt>
                <c:pt idx="19">
                  <c:v>5</c:v>
                </c:pt>
                <c:pt idx="20">
                  <c:v>4.75</c:v>
                </c:pt>
                <c:pt idx="21">
                  <c:v>4.5</c:v>
                </c:pt>
                <c:pt idx="22">
                  <c:v>4.25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DD5-45C9-BD44-560C3391207D}"/>
            </c:ext>
          </c:extLst>
        </c:ser>
        <c:ser>
          <c:idx val="3"/>
          <c:order val="3"/>
          <c:tx>
            <c:strRef>
              <c:f>'T5-9'!$B$8</c:f>
              <c:strCache>
                <c:ptCount val="1"/>
                <c:pt idx="0">
                  <c:v>Rumunija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T5-9'!$D$4:$AC$4</c:f>
              <c:numCache>
                <c:formatCode>General</c:formatCode>
                <c:ptCount val="26"/>
                <c:pt idx="0">
                  <c:v>2024</c:v>
                </c:pt>
                <c:pt idx="12">
                  <c:v>2025</c:v>
                </c:pt>
                <c:pt idx="24">
                  <c:v>2026</c:v>
                </c:pt>
              </c:numCache>
            </c:numRef>
          </c:cat>
          <c:val>
            <c:numRef>
              <c:f>'T5-9'!$D$8:$AC$8</c:f>
              <c:numCache>
                <c:formatCode>General</c:formatCode>
                <c:ptCount val="2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6.75</c:v>
                </c:pt>
                <c:pt idx="7">
                  <c:v>6.5</c:v>
                </c:pt>
                <c:pt idx="8">
                  <c:v>6.5</c:v>
                </c:pt>
                <c:pt idx="9">
                  <c:v>6.5</c:v>
                </c:pt>
                <c:pt idx="10">
                  <c:v>6.5</c:v>
                </c:pt>
                <c:pt idx="11">
                  <c:v>6.5</c:v>
                </c:pt>
                <c:pt idx="12">
                  <c:v>6.5</c:v>
                </c:pt>
                <c:pt idx="13">
                  <c:v>6.5</c:v>
                </c:pt>
                <c:pt idx="14">
                  <c:v>6.5</c:v>
                </c:pt>
                <c:pt idx="15">
                  <c:v>6.5</c:v>
                </c:pt>
                <c:pt idx="16">
                  <c:v>6.5</c:v>
                </c:pt>
                <c:pt idx="17">
                  <c:v>6.5</c:v>
                </c:pt>
                <c:pt idx="18">
                  <c:v>6.5</c:v>
                </c:pt>
                <c:pt idx="19">
                  <c:v>6.5</c:v>
                </c:pt>
                <c:pt idx="20">
                  <c:v>6.5</c:v>
                </c:pt>
                <c:pt idx="21">
                  <c:v>6.5</c:v>
                </c:pt>
                <c:pt idx="22">
                  <c:v>6.5</c:v>
                </c:pt>
                <c:pt idx="23">
                  <c:v>6.5</c:v>
                </c:pt>
                <c:pt idx="24">
                  <c:v>6.5</c:v>
                </c:pt>
                <c:pt idx="25">
                  <c:v>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DD5-45C9-BD44-560C3391207D}"/>
            </c:ext>
          </c:extLst>
        </c:ser>
        <c:ser>
          <c:idx val="4"/>
          <c:order val="4"/>
          <c:tx>
            <c:strRef>
              <c:f>'T5-9'!$B$9</c:f>
              <c:strCache>
                <c:ptCount val="1"/>
                <c:pt idx="0">
                  <c:v>Srbija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T5-9'!$D$4:$AC$4</c:f>
              <c:numCache>
                <c:formatCode>General</c:formatCode>
                <c:ptCount val="26"/>
                <c:pt idx="0">
                  <c:v>2024</c:v>
                </c:pt>
                <c:pt idx="12">
                  <c:v>2025</c:v>
                </c:pt>
                <c:pt idx="24">
                  <c:v>2026</c:v>
                </c:pt>
              </c:numCache>
            </c:numRef>
          </c:cat>
          <c:val>
            <c:numRef>
              <c:f>'T5-9'!$D$9:$AC$9</c:f>
              <c:numCache>
                <c:formatCode>General</c:formatCode>
                <c:ptCount val="26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  <c:pt idx="3">
                  <c:v>6.5</c:v>
                </c:pt>
                <c:pt idx="4">
                  <c:v>6.5</c:v>
                </c:pt>
                <c:pt idx="5">
                  <c:v>6.25</c:v>
                </c:pt>
                <c:pt idx="6">
                  <c:v>6</c:v>
                </c:pt>
                <c:pt idx="7">
                  <c:v>6</c:v>
                </c:pt>
                <c:pt idx="8">
                  <c:v>5.75</c:v>
                </c:pt>
                <c:pt idx="9">
                  <c:v>5.75</c:v>
                </c:pt>
                <c:pt idx="10">
                  <c:v>5.75</c:v>
                </c:pt>
                <c:pt idx="11">
                  <c:v>5.75</c:v>
                </c:pt>
                <c:pt idx="12">
                  <c:v>5.75</c:v>
                </c:pt>
                <c:pt idx="13">
                  <c:v>5.75</c:v>
                </c:pt>
                <c:pt idx="14">
                  <c:v>5.75</c:v>
                </c:pt>
                <c:pt idx="15">
                  <c:v>5.75</c:v>
                </c:pt>
                <c:pt idx="16">
                  <c:v>5.75</c:v>
                </c:pt>
                <c:pt idx="17">
                  <c:v>5.75</c:v>
                </c:pt>
                <c:pt idx="18">
                  <c:v>5.75</c:v>
                </c:pt>
                <c:pt idx="19">
                  <c:v>5.75</c:v>
                </c:pt>
                <c:pt idx="20">
                  <c:v>5.75</c:v>
                </c:pt>
                <c:pt idx="21">
                  <c:v>5.75</c:v>
                </c:pt>
                <c:pt idx="22">
                  <c:v>5.75</c:v>
                </c:pt>
                <c:pt idx="23">
                  <c:v>5.75</c:v>
                </c:pt>
                <c:pt idx="24">
                  <c:v>5.75</c:v>
                </c:pt>
                <c:pt idx="25">
                  <c:v>5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DD5-45C9-BD44-560C3391207D}"/>
            </c:ext>
          </c:extLst>
        </c:ser>
        <c:ser>
          <c:idx val="5"/>
          <c:order val="5"/>
          <c:tx>
            <c:strRef>
              <c:f>'T5-9'!$B$10</c:f>
              <c:strCache>
                <c:ptCount val="1"/>
                <c:pt idx="0">
                  <c:v>Evrozona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T5-9'!$D$4:$AC$4</c:f>
              <c:numCache>
                <c:formatCode>General</c:formatCode>
                <c:ptCount val="26"/>
                <c:pt idx="0">
                  <c:v>2024</c:v>
                </c:pt>
                <c:pt idx="12">
                  <c:v>2025</c:v>
                </c:pt>
                <c:pt idx="24">
                  <c:v>2026</c:v>
                </c:pt>
              </c:numCache>
            </c:numRef>
          </c:cat>
          <c:val>
            <c:numRef>
              <c:f>'T5-9'!$D$10:$AC$10</c:f>
              <c:numCache>
                <c:formatCode>General</c:formatCode>
                <c:ptCount val="2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3.75</c:v>
                </c:pt>
                <c:pt idx="6">
                  <c:v>3.75</c:v>
                </c:pt>
                <c:pt idx="7">
                  <c:v>3.75</c:v>
                </c:pt>
                <c:pt idx="8">
                  <c:v>3.5</c:v>
                </c:pt>
                <c:pt idx="9">
                  <c:v>3.25</c:v>
                </c:pt>
                <c:pt idx="10">
                  <c:v>3.25</c:v>
                </c:pt>
                <c:pt idx="11">
                  <c:v>3</c:v>
                </c:pt>
                <c:pt idx="12">
                  <c:v>2.75</c:v>
                </c:pt>
                <c:pt idx="13">
                  <c:v>2.75</c:v>
                </c:pt>
                <c:pt idx="14">
                  <c:v>2.5</c:v>
                </c:pt>
                <c:pt idx="15">
                  <c:v>2.25</c:v>
                </c:pt>
                <c:pt idx="16">
                  <c:v>2.25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DD5-45C9-BD44-560C339120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06196832"/>
        <c:axId val="-1206200096"/>
      </c:lineChart>
      <c:catAx>
        <c:axId val="-12061968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all" spc="120" normalizeH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06200096"/>
        <c:crosses val="autoZero"/>
        <c:auto val="1"/>
        <c:lblAlgn val="ctr"/>
        <c:lblOffset val="100"/>
        <c:noMultiLvlLbl val="0"/>
      </c:catAx>
      <c:valAx>
        <c:axId val="-1206200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06196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0006974476852843E-2"/>
          <c:y val="0.92170124831"/>
          <c:w val="0.90697226663130315"/>
          <c:h val="6.34051753793518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0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abela T2-2'!$V$6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Tabela T2-2'!$U$7:$U$14</c:f>
              <c:strCache>
                <c:ptCount val="8"/>
                <c:pt idx="0">
                  <c:v>BDP</c:v>
                </c:pt>
                <c:pt idx="1">
                  <c:v>Poljoprivreda</c:v>
                </c:pt>
                <c:pt idx="2">
                  <c:v>Industrija</c:v>
                </c:pt>
                <c:pt idx="3">
                  <c:v>Građevinarstvo</c:v>
                </c:pt>
                <c:pt idx="4">
                  <c:v>Trgovina, saobraćaj i turizam</c:v>
                </c:pt>
                <c:pt idx="5">
                  <c:v>Informisanje i komunikacije</c:v>
                </c:pt>
                <c:pt idx="6">
                  <c:v>Finansijske delatnosti i osiguranje</c:v>
                </c:pt>
                <c:pt idx="7">
                  <c:v>Ostalo</c:v>
                </c:pt>
              </c:strCache>
            </c:strRef>
          </c:cat>
          <c:val>
            <c:numRef>
              <c:f>'Tabela T2-2'!$V$7:$V$14</c:f>
              <c:numCache>
                <c:formatCode>0.0</c:formatCode>
                <c:ptCount val="8"/>
                <c:pt idx="0">
                  <c:v>2.0303919627683769</c:v>
                </c:pt>
                <c:pt idx="1">
                  <c:v>-0.11759670231671748</c:v>
                </c:pt>
                <c:pt idx="2">
                  <c:v>1.0911485954153903</c:v>
                </c:pt>
                <c:pt idx="3">
                  <c:v>-5.4867396749744444</c:v>
                </c:pt>
                <c:pt idx="4">
                  <c:v>0.52415224280612449</c:v>
                </c:pt>
                <c:pt idx="5">
                  <c:v>5.6332587410821162</c:v>
                </c:pt>
                <c:pt idx="6">
                  <c:v>2.5700327980504767</c:v>
                </c:pt>
                <c:pt idx="7">
                  <c:v>3.0666575083245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6F-4AFB-A9F1-638A4C1207B3}"/>
            </c:ext>
          </c:extLst>
        </c:ser>
        <c:ser>
          <c:idx val="1"/>
          <c:order val="1"/>
          <c:tx>
            <c:strRef>
              <c:f>'Tabela T2-2'!$W$6</c:f>
              <c:strCache>
                <c:ptCount val="1"/>
                <c:pt idx="0">
                  <c:v>Q4 202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Tabela T2-2'!$U$7:$U$14</c:f>
              <c:strCache>
                <c:ptCount val="8"/>
                <c:pt idx="0">
                  <c:v>BDP</c:v>
                </c:pt>
                <c:pt idx="1">
                  <c:v>Poljoprivreda</c:v>
                </c:pt>
                <c:pt idx="2">
                  <c:v>Industrija</c:v>
                </c:pt>
                <c:pt idx="3">
                  <c:v>Građevinarstvo</c:v>
                </c:pt>
                <c:pt idx="4">
                  <c:v>Trgovina, saobraćaj i turizam</c:v>
                </c:pt>
                <c:pt idx="5">
                  <c:v>Informisanje i komunikacije</c:v>
                </c:pt>
                <c:pt idx="6">
                  <c:v>Finansijske delatnosti i osiguranje</c:v>
                </c:pt>
                <c:pt idx="7">
                  <c:v>Ostalo</c:v>
                </c:pt>
              </c:strCache>
            </c:strRef>
          </c:cat>
          <c:val>
            <c:numRef>
              <c:f>'Tabela T2-2'!$W$7:$W$14</c:f>
              <c:numCache>
                <c:formatCode>0.0</c:formatCode>
                <c:ptCount val="8"/>
                <c:pt idx="0">
                  <c:v>2.1835554097137759</c:v>
                </c:pt>
                <c:pt idx="1">
                  <c:v>-0.27094814981441573</c:v>
                </c:pt>
                <c:pt idx="2">
                  <c:v>-3.4097636349999334</c:v>
                </c:pt>
                <c:pt idx="3">
                  <c:v>10.589263273241272</c:v>
                </c:pt>
                <c:pt idx="4">
                  <c:v>0.59233181065711449</c:v>
                </c:pt>
                <c:pt idx="5">
                  <c:v>4.3458922415929919</c:v>
                </c:pt>
                <c:pt idx="6">
                  <c:v>1.9875599595333284</c:v>
                </c:pt>
                <c:pt idx="7">
                  <c:v>3.8405699030336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6F-4AFB-A9F1-638A4C120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49336480"/>
        <c:axId val="-1349334848"/>
      </c:barChart>
      <c:catAx>
        <c:axId val="-1349336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34848"/>
        <c:crosses val="autoZero"/>
        <c:auto val="1"/>
        <c:lblAlgn val="ctr"/>
        <c:lblOffset val="100"/>
        <c:noMultiLvlLbl val="0"/>
      </c:catAx>
      <c:valAx>
        <c:axId val="-1349334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36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588718862972315"/>
          <c:y val="0.84083246237924525"/>
          <c:w val="0.26080423909275491"/>
          <c:h val="0.112500846457137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 algn="ctr">
        <a:defRPr lang="en-US" sz="1000" b="0" i="0" u="none" strike="noStrike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abela T2-3'!$U$6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Tabela T2-3'!$T$7:$T$12</c:f>
              <c:strCache>
                <c:ptCount val="6"/>
                <c:pt idx="0">
                  <c:v>BDP</c:v>
                </c:pt>
                <c:pt idx="1">
                  <c:v>Privatna potrošnja</c:v>
                </c:pt>
                <c:pt idx="2">
                  <c:v>Državna potrošnja</c:v>
                </c:pt>
                <c:pt idx="3">
                  <c:v>Investicije</c:v>
                </c:pt>
                <c:pt idx="4">
                  <c:v>Izvoz</c:v>
                </c:pt>
                <c:pt idx="5">
                  <c:v>Uvoz</c:v>
                </c:pt>
              </c:strCache>
            </c:strRef>
          </c:cat>
          <c:val>
            <c:numRef>
              <c:f>'Tabela T2-3'!$U$7:$U$12</c:f>
              <c:numCache>
                <c:formatCode>0.0</c:formatCode>
                <c:ptCount val="6"/>
                <c:pt idx="0">
                  <c:v>2.0303919627683769</c:v>
                </c:pt>
                <c:pt idx="1">
                  <c:v>3.1194230255678974</c:v>
                </c:pt>
                <c:pt idx="2">
                  <c:v>3.149276169787413</c:v>
                </c:pt>
                <c:pt idx="3">
                  <c:v>0.8365587621085524</c:v>
                </c:pt>
                <c:pt idx="4">
                  <c:v>5.6330888216966031</c:v>
                </c:pt>
                <c:pt idx="5">
                  <c:v>8.0216333155717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29-479B-A2EB-F749CAA451F8}"/>
            </c:ext>
          </c:extLst>
        </c:ser>
        <c:ser>
          <c:idx val="1"/>
          <c:order val="1"/>
          <c:tx>
            <c:strRef>
              <c:f>'Tabela T2-3'!$V$6</c:f>
              <c:strCache>
                <c:ptCount val="1"/>
                <c:pt idx="0">
                  <c:v>Q4 202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Tabela T2-3'!$T$7:$T$12</c:f>
              <c:strCache>
                <c:ptCount val="6"/>
                <c:pt idx="0">
                  <c:v>BDP</c:v>
                </c:pt>
                <c:pt idx="1">
                  <c:v>Privatna potrošnja</c:v>
                </c:pt>
                <c:pt idx="2">
                  <c:v>Državna potrošnja</c:v>
                </c:pt>
                <c:pt idx="3">
                  <c:v>Investicije</c:v>
                </c:pt>
                <c:pt idx="4">
                  <c:v>Izvoz</c:v>
                </c:pt>
                <c:pt idx="5">
                  <c:v>Uvoz</c:v>
                </c:pt>
              </c:strCache>
            </c:strRef>
          </c:cat>
          <c:val>
            <c:numRef>
              <c:f>'Tabela T2-3'!$V$7:$V$12</c:f>
              <c:numCache>
                <c:formatCode>0.0</c:formatCode>
                <c:ptCount val="6"/>
                <c:pt idx="0">
                  <c:v>2.1835554097137759</c:v>
                </c:pt>
                <c:pt idx="1">
                  <c:v>3.6904436937035285</c:v>
                </c:pt>
                <c:pt idx="2">
                  <c:v>4.162250784496706</c:v>
                </c:pt>
                <c:pt idx="3">
                  <c:v>8.8658246502738365</c:v>
                </c:pt>
                <c:pt idx="4">
                  <c:v>5.2973139143424248</c:v>
                </c:pt>
                <c:pt idx="5">
                  <c:v>7.6003016940039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29-479B-A2EB-F749CAA451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49331040"/>
        <c:axId val="-1349333216"/>
      </c:barChart>
      <c:catAx>
        <c:axId val="-134933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33216"/>
        <c:crosses val="autoZero"/>
        <c:auto val="1"/>
        <c:lblAlgn val="ctr"/>
        <c:lblOffset val="100"/>
        <c:noMultiLvlLbl val="0"/>
      </c:catAx>
      <c:valAx>
        <c:axId val="-1349333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3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716883821932697E-2"/>
          <c:y val="1.6989775369465849E-2"/>
          <c:w val="0.88038137893593904"/>
          <c:h val="0.71912770669291337"/>
        </c:manualLayout>
      </c:layout>
      <c:lineChart>
        <c:grouping val="standard"/>
        <c:varyColors val="0"/>
        <c:ser>
          <c:idx val="2"/>
          <c:order val="0"/>
          <c:tx>
            <c:strRef>
              <c:f>'Grafikon T2-6 eurostat'!$B$4</c:f>
              <c:strCache>
                <c:ptCount val="1"/>
                <c:pt idx="0">
                  <c:v>Industrija ukupno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strRef>
              <c:f>'Grafikon T2-6 eurostat'!$U$24:$U$95</c:f>
              <c:strCache>
                <c:ptCount val="72"/>
                <c:pt idx="0">
                  <c:v>2008Q1</c:v>
                </c:pt>
                <c:pt idx="1">
                  <c:v>2008Q2</c:v>
                </c:pt>
                <c:pt idx="2">
                  <c:v>2008Q3</c:v>
                </c:pt>
                <c:pt idx="3">
                  <c:v>2008Q4</c:v>
                </c:pt>
                <c:pt idx="4">
                  <c:v>2009Q1</c:v>
                </c:pt>
                <c:pt idx="5">
                  <c:v>2009Q2</c:v>
                </c:pt>
                <c:pt idx="6">
                  <c:v>2009Q3</c:v>
                </c:pt>
                <c:pt idx="7">
                  <c:v>2009Q4</c:v>
                </c:pt>
                <c:pt idx="8">
                  <c:v>2010Q1</c:v>
                </c:pt>
                <c:pt idx="9">
                  <c:v>2010Q2</c:v>
                </c:pt>
                <c:pt idx="10">
                  <c:v>2010Q3</c:v>
                </c:pt>
                <c:pt idx="11">
                  <c:v>2010Q4</c:v>
                </c:pt>
                <c:pt idx="12">
                  <c:v>2011Q1</c:v>
                </c:pt>
                <c:pt idx="13">
                  <c:v>2011Q2</c:v>
                </c:pt>
                <c:pt idx="14">
                  <c:v>2011Q3</c:v>
                </c:pt>
                <c:pt idx="15">
                  <c:v>2011Q4</c:v>
                </c:pt>
                <c:pt idx="16">
                  <c:v>2012Q1</c:v>
                </c:pt>
                <c:pt idx="17">
                  <c:v>2012Q2</c:v>
                </c:pt>
                <c:pt idx="18">
                  <c:v>2012Q3</c:v>
                </c:pt>
                <c:pt idx="19">
                  <c:v>2012Q4</c:v>
                </c:pt>
                <c:pt idx="20">
                  <c:v>2013Q1</c:v>
                </c:pt>
                <c:pt idx="21">
                  <c:v>2013Q2</c:v>
                </c:pt>
                <c:pt idx="22">
                  <c:v>2013Q3</c:v>
                </c:pt>
                <c:pt idx="23">
                  <c:v>2013Q4</c:v>
                </c:pt>
                <c:pt idx="24">
                  <c:v>2014Q1</c:v>
                </c:pt>
                <c:pt idx="25">
                  <c:v>2014Q2</c:v>
                </c:pt>
                <c:pt idx="26">
                  <c:v>2014Q3</c:v>
                </c:pt>
                <c:pt idx="27">
                  <c:v>2014Q4</c:v>
                </c:pt>
                <c:pt idx="28">
                  <c:v>2015Q1</c:v>
                </c:pt>
                <c:pt idx="29">
                  <c:v>2015Q2</c:v>
                </c:pt>
                <c:pt idx="30">
                  <c:v>2015Q3</c:v>
                </c:pt>
                <c:pt idx="31">
                  <c:v>2015Q4</c:v>
                </c:pt>
                <c:pt idx="32">
                  <c:v>2016Q1</c:v>
                </c:pt>
                <c:pt idx="33">
                  <c:v>2016Q2</c:v>
                </c:pt>
                <c:pt idx="34">
                  <c:v>2016Q3</c:v>
                </c:pt>
                <c:pt idx="35">
                  <c:v>2016Q4</c:v>
                </c:pt>
                <c:pt idx="36">
                  <c:v>2017Q1</c:v>
                </c:pt>
                <c:pt idx="37">
                  <c:v>2017Q2</c:v>
                </c:pt>
                <c:pt idx="38">
                  <c:v>2017Q3</c:v>
                </c:pt>
                <c:pt idx="39">
                  <c:v>2017Q4</c:v>
                </c:pt>
                <c:pt idx="40">
                  <c:v>2018Q1</c:v>
                </c:pt>
                <c:pt idx="41">
                  <c:v>2018Q2</c:v>
                </c:pt>
                <c:pt idx="42">
                  <c:v>2018Q3</c:v>
                </c:pt>
                <c:pt idx="43">
                  <c:v>2018Q4</c:v>
                </c:pt>
                <c:pt idx="44">
                  <c:v>2019Q1</c:v>
                </c:pt>
                <c:pt idx="45">
                  <c:v>2019Q2</c:v>
                </c:pt>
                <c:pt idx="46">
                  <c:v>2019Q3</c:v>
                </c:pt>
                <c:pt idx="47">
                  <c:v>2019Q4</c:v>
                </c:pt>
                <c:pt idx="48">
                  <c:v>2020Q1</c:v>
                </c:pt>
                <c:pt idx="49">
                  <c:v>2020Q2</c:v>
                </c:pt>
                <c:pt idx="50">
                  <c:v>2020Q3</c:v>
                </c:pt>
                <c:pt idx="51">
                  <c:v>2020Q4</c:v>
                </c:pt>
                <c:pt idx="52">
                  <c:v>2021Q1</c:v>
                </c:pt>
                <c:pt idx="53">
                  <c:v>2021Q2</c:v>
                </c:pt>
                <c:pt idx="54">
                  <c:v>2021Q3</c:v>
                </c:pt>
                <c:pt idx="55">
                  <c:v>2021Q4</c:v>
                </c:pt>
                <c:pt idx="56">
                  <c:v>2022Q1</c:v>
                </c:pt>
                <c:pt idx="57">
                  <c:v>2022Q2</c:v>
                </c:pt>
                <c:pt idx="58">
                  <c:v>2022Q3</c:v>
                </c:pt>
                <c:pt idx="59">
                  <c:v>2022Q4</c:v>
                </c:pt>
                <c:pt idx="60">
                  <c:v>2023Q1</c:v>
                </c:pt>
                <c:pt idx="61">
                  <c:v>2023Q2</c:v>
                </c:pt>
                <c:pt idx="62">
                  <c:v>2023Q3</c:v>
                </c:pt>
                <c:pt idx="63">
                  <c:v>2023Q4</c:v>
                </c:pt>
                <c:pt idx="64">
                  <c:v>2024Q1</c:v>
                </c:pt>
                <c:pt idx="65">
                  <c:v>2024Q2</c:v>
                </c:pt>
                <c:pt idx="66">
                  <c:v>2024Q3</c:v>
                </c:pt>
                <c:pt idx="67">
                  <c:v>2024Q4</c:v>
                </c:pt>
                <c:pt idx="68">
                  <c:v>2025Q1</c:v>
                </c:pt>
                <c:pt idx="69">
                  <c:v>2025Q2</c:v>
                </c:pt>
                <c:pt idx="70">
                  <c:v>2025Q3</c:v>
                </c:pt>
                <c:pt idx="71">
                  <c:v>2025Q4</c:v>
                </c:pt>
              </c:strCache>
            </c:strRef>
          </c:cat>
          <c:val>
            <c:numRef>
              <c:f>'Grafikon T2-6 eurostat'!$X$24:$X$95</c:f>
              <c:numCache>
                <c:formatCode>General</c:formatCode>
                <c:ptCount val="72"/>
                <c:pt idx="0">
                  <c:v>104.07660738714091</c:v>
                </c:pt>
                <c:pt idx="1">
                  <c:v>102.54445964432284</c:v>
                </c:pt>
                <c:pt idx="2">
                  <c:v>99.58960328317373</c:v>
                </c:pt>
                <c:pt idx="3">
                  <c:v>93.789329685362517</c:v>
                </c:pt>
                <c:pt idx="4">
                  <c:v>87.879616963064294</c:v>
                </c:pt>
                <c:pt idx="5">
                  <c:v>82.954856361149112</c:v>
                </c:pt>
                <c:pt idx="6">
                  <c:v>87.989056087551305</c:v>
                </c:pt>
                <c:pt idx="7">
                  <c:v>90.39671682626539</c:v>
                </c:pt>
                <c:pt idx="8">
                  <c:v>88.098495212038301</c:v>
                </c:pt>
                <c:pt idx="9">
                  <c:v>87.22298221614227</c:v>
                </c:pt>
                <c:pt idx="10">
                  <c:v>90.725034199726409</c:v>
                </c:pt>
                <c:pt idx="11">
                  <c:v>87.660738714090286</c:v>
                </c:pt>
                <c:pt idx="12">
                  <c:v>92.804377564979475</c:v>
                </c:pt>
                <c:pt idx="13">
                  <c:v>90.506155950752401</c:v>
                </c:pt>
                <c:pt idx="14">
                  <c:v>89.083447332421343</c:v>
                </c:pt>
                <c:pt idx="15">
                  <c:v>89.958960328317374</c:v>
                </c:pt>
                <c:pt idx="16">
                  <c:v>85.581395348837205</c:v>
                </c:pt>
                <c:pt idx="17">
                  <c:v>88.974008207934332</c:v>
                </c:pt>
                <c:pt idx="18">
                  <c:v>87.879616963064294</c:v>
                </c:pt>
                <c:pt idx="19">
                  <c:v>91.053351573187413</c:v>
                </c:pt>
                <c:pt idx="20">
                  <c:v>91.16279069767441</c:v>
                </c:pt>
                <c:pt idx="21">
                  <c:v>91.709986320109437</c:v>
                </c:pt>
                <c:pt idx="22">
                  <c:v>97.838577291381682</c:v>
                </c:pt>
                <c:pt idx="23">
                  <c:v>94.33652530779753</c:v>
                </c:pt>
                <c:pt idx="24">
                  <c:v>89.63064295485637</c:v>
                </c:pt>
                <c:pt idx="25">
                  <c:v>87.770177838577297</c:v>
                </c:pt>
                <c:pt idx="26">
                  <c:v>83.830369357045143</c:v>
                </c:pt>
                <c:pt idx="27">
                  <c:v>85.581395348837205</c:v>
                </c:pt>
                <c:pt idx="28">
                  <c:v>91.053351573187413</c:v>
                </c:pt>
                <c:pt idx="29">
                  <c:v>94.883720930232556</c:v>
                </c:pt>
                <c:pt idx="30">
                  <c:v>92.257181942544449</c:v>
                </c:pt>
                <c:pt idx="31">
                  <c:v>94.117647058823522</c:v>
                </c:pt>
                <c:pt idx="32">
                  <c:v>96.087551299589606</c:v>
                </c:pt>
                <c:pt idx="33">
                  <c:v>97.291381668946656</c:v>
                </c:pt>
                <c:pt idx="34">
                  <c:v>97.072503419972648</c:v>
                </c:pt>
                <c:pt idx="35">
                  <c:v>98.714090287277699</c:v>
                </c:pt>
                <c:pt idx="36">
                  <c:v>98.495212038303691</c:v>
                </c:pt>
                <c:pt idx="37">
                  <c:v>101.34062927496579</c:v>
                </c:pt>
                <c:pt idx="38">
                  <c:v>104.07660738714091</c:v>
                </c:pt>
                <c:pt idx="39">
                  <c:v>102.87277701778386</c:v>
                </c:pt>
                <c:pt idx="40">
                  <c:v>103.6388508891929</c:v>
                </c:pt>
                <c:pt idx="41">
                  <c:v>103.74829001367989</c:v>
                </c:pt>
                <c:pt idx="42">
                  <c:v>102.43502051983585</c:v>
                </c:pt>
                <c:pt idx="43">
                  <c:v>101.34062927496579</c:v>
                </c:pt>
                <c:pt idx="44">
                  <c:v>102.98221614227086</c:v>
                </c:pt>
                <c:pt idx="45">
                  <c:v>101.34062927496579</c:v>
                </c:pt>
                <c:pt idx="46">
                  <c:v>103.31053351573188</c:v>
                </c:pt>
                <c:pt idx="47">
                  <c:v>104.95212038303694</c:v>
                </c:pt>
                <c:pt idx="48">
                  <c:v>103.6388508891929</c:v>
                </c:pt>
                <c:pt idx="49">
                  <c:v>91.60054719562244</c:v>
                </c:pt>
                <c:pt idx="50">
                  <c:v>106.48426812585498</c:v>
                </c:pt>
                <c:pt idx="51">
                  <c:v>107.35978112175101</c:v>
                </c:pt>
                <c:pt idx="52">
                  <c:v>109.98632010943912</c:v>
                </c:pt>
                <c:pt idx="53">
                  <c:v>106.48426812585498</c:v>
                </c:pt>
                <c:pt idx="54">
                  <c:v>109.65800273597812</c:v>
                </c:pt>
                <c:pt idx="55">
                  <c:v>111.19015047879617</c:v>
                </c:pt>
                <c:pt idx="56">
                  <c:v>111.08071135430917</c:v>
                </c:pt>
                <c:pt idx="57">
                  <c:v>112.72229822161424</c:v>
                </c:pt>
                <c:pt idx="58">
                  <c:v>109.65800273597812</c:v>
                </c:pt>
                <c:pt idx="59">
                  <c:v>112.61285909712724</c:v>
                </c:pt>
                <c:pt idx="60">
                  <c:v>114.47332421340629</c:v>
                </c:pt>
                <c:pt idx="61">
                  <c:v>114.03556771545828</c:v>
                </c:pt>
                <c:pt idx="62">
                  <c:v>114.25444596443228</c:v>
                </c:pt>
                <c:pt idx="63">
                  <c:v>115.78659370725033</c:v>
                </c:pt>
                <c:pt idx="64">
                  <c:v>116.00547195622435</c:v>
                </c:pt>
                <c:pt idx="65">
                  <c:v>116.88098495212039</c:v>
                </c:pt>
                <c:pt idx="66">
                  <c:v>118.19425444596443</c:v>
                </c:pt>
                <c:pt idx="67">
                  <c:v>119.94528043775649</c:v>
                </c:pt>
                <c:pt idx="68">
                  <c:v>120.60191518467853</c:v>
                </c:pt>
                <c:pt idx="69">
                  <c:v>119.94528043775649</c:v>
                </c:pt>
                <c:pt idx="70">
                  <c:v>121.36798905608757</c:v>
                </c:pt>
                <c:pt idx="71">
                  <c:v>114.69220246238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A3C-43A1-AEB3-AB58B4215957}"/>
            </c:ext>
          </c:extLst>
        </c:ser>
        <c:ser>
          <c:idx val="1"/>
          <c:order val="1"/>
          <c:tx>
            <c:strRef>
              <c:f>'Grafikon T2-6 eurostat'!$C$4</c:f>
              <c:strCache>
                <c:ptCount val="1"/>
                <c:pt idx="0">
                  <c:v>Prerađivačka industrija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</c:spPr>
          <c:marker>
            <c:symbol val="none"/>
          </c:marker>
          <c:cat>
            <c:strRef>
              <c:f>'Grafikon T2-6 eurostat'!$U$24:$U$95</c:f>
              <c:strCache>
                <c:ptCount val="72"/>
                <c:pt idx="0">
                  <c:v>2008Q1</c:v>
                </c:pt>
                <c:pt idx="1">
                  <c:v>2008Q2</c:v>
                </c:pt>
                <c:pt idx="2">
                  <c:v>2008Q3</c:v>
                </c:pt>
                <c:pt idx="3">
                  <c:v>2008Q4</c:v>
                </c:pt>
                <c:pt idx="4">
                  <c:v>2009Q1</c:v>
                </c:pt>
                <c:pt idx="5">
                  <c:v>2009Q2</c:v>
                </c:pt>
                <c:pt idx="6">
                  <c:v>2009Q3</c:v>
                </c:pt>
                <c:pt idx="7">
                  <c:v>2009Q4</c:v>
                </c:pt>
                <c:pt idx="8">
                  <c:v>2010Q1</c:v>
                </c:pt>
                <c:pt idx="9">
                  <c:v>2010Q2</c:v>
                </c:pt>
                <c:pt idx="10">
                  <c:v>2010Q3</c:v>
                </c:pt>
                <c:pt idx="11">
                  <c:v>2010Q4</c:v>
                </c:pt>
                <c:pt idx="12">
                  <c:v>2011Q1</c:v>
                </c:pt>
                <c:pt idx="13">
                  <c:v>2011Q2</c:v>
                </c:pt>
                <c:pt idx="14">
                  <c:v>2011Q3</c:v>
                </c:pt>
                <c:pt idx="15">
                  <c:v>2011Q4</c:v>
                </c:pt>
                <c:pt idx="16">
                  <c:v>2012Q1</c:v>
                </c:pt>
                <c:pt idx="17">
                  <c:v>2012Q2</c:v>
                </c:pt>
                <c:pt idx="18">
                  <c:v>2012Q3</c:v>
                </c:pt>
                <c:pt idx="19">
                  <c:v>2012Q4</c:v>
                </c:pt>
                <c:pt idx="20">
                  <c:v>2013Q1</c:v>
                </c:pt>
                <c:pt idx="21">
                  <c:v>2013Q2</c:v>
                </c:pt>
                <c:pt idx="22">
                  <c:v>2013Q3</c:v>
                </c:pt>
                <c:pt idx="23">
                  <c:v>2013Q4</c:v>
                </c:pt>
                <c:pt idx="24">
                  <c:v>2014Q1</c:v>
                </c:pt>
                <c:pt idx="25">
                  <c:v>2014Q2</c:v>
                </c:pt>
                <c:pt idx="26">
                  <c:v>2014Q3</c:v>
                </c:pt>
                <c:pt idx="27">
                  <c:v>2014Q4</c:v>
                </c:pt>
                <c:pt idx="28">
                  <c:v>2015Q1</c:v>
                </c:pt>
                <c:pt idx="29">
                  <c:v>2015Q2</c:v>
                </c:pt>
                <c:pt idx="30">
                  <c:v>2015Q3</c:v>
                </c:pt>
                <c:pt idx="31">
                  <c:v>2015Q4</c:v>
                </c:pt>
                <c:pt idx="32">
                  <c:v>2016Q1</c:v>
                </c:pt>
                <c:pt idx="33">
                  <c:v>2016Q2</c:v>
                </c:pt>
                <c:pt idx="34">
                  <c:v>2016Q3</c:v>
                </c:pt>
                <c:pt idx="35">
                  <c:v>2016Q4</c:v>
                </c:pt>
                <c:pt idx="36">
                  <c:v>2017Q1</c:v>
                </c:pt>
                <c:pt idx="37">
                  <c:v>2017Q2</c:v>
                </c:pt>
                <c:pt idx="38">
                  <c:v>2017Q3</c:v>
                </c:pt>
                <c:pt idx="39">
                  <c:v>2017Q4</c:v>
                </c:pt>
                <c:pt idx="40">
                  <c:v>2018Q1</c:v>
                </c:pt>
                <c:pt idx="41">
                  <c:v>2018Q2</c:v>
                </c:pt>
                <c:pt idx="42">
                  <c:v>2018Q3</c:v>
                </c:pt>
                <c:pt idx="43">
                  <c:v>2018Q4</c:v>
                </c:pt>
                <c:pt idx="44">
                  <c:v>2019Q1</c:v>
                </c:pt>
                <c:pt idx="45">
                  <c:v>2019Q2</c:v>
                </c:pt>
                <c:pt idx="46">
                  <c:v>2019Q3</c:v>
                </c:pt>
                <c:pt idx="47">
                  <c:v>2019Q4</c:v>
                </c:pt>
                <c:pt idx="48">
                  <c:v>2020Q1</c:v>
                </c:pt>
                <c:pt idx="49">
                  <c:v>2020Q2</c:v>
                </c:pt>
                <c:pt idx="50">
                  <c:v>2020Q3</c:v>
                </c:pt>
                <c:pt idx="51">
                  <c:v>2020Q4</c:v>
                </c:pt>
                <c:pt idx="52">
                  <c:v>2021Q1</c:v>
                </c:pt>
                <c:pt idx="53">
                  <c:v>2021Q2</c:v>
                </c:pt>
                <c:pt idx="54">
                  <c:v>2021Q3</c:v>
                </c:pt>
                <c:pt idx="55">
                  <c:v>2021Q4</c:v>
                </c:pt>
                <c:pt idx="56">
                  <c:v>2022Q1</c:v>
                </c:pt>
                <c:pt idx="57">
                  <c:v>2022Q2</c:v>
                </c:pt>
                <c:pt idx="58">
                  <c:v>2022Q3</c:v>
                </c:pt>
                <c:pt idx="59">
                  <c:v>2022Q4</c:v>
                </c:pt>
                <c:pt idx="60">
                  <c:v>2023Q1</c:v>
                </c:pt>
                <c:pt idx="61">
                  <c:v>2023Q2</c:v>
                </c:pt>
                <c:pt idx="62">
                  <c:v>2023Q3</c:v>
                </c:pt>
                <c:pt idx="63">
                  <c:v>2023Q4</c:v>
                </c:pt>
                <c:pt idx="64">
                  <c:v>2024Q1</c:v>
                </c:pt>
                <c:pt idx="65">
                  <c:v>2024Q2</c:v>
                </c:pt>
                <c:pt idx="66">
                  <c:v>2024Q3</c:v>
                </c:pt>
                <c:pt idx="67">
                  <c:v>2024Q4</c:v>
                </c:pt>
                <c:pt idx="68">
                  <c:v>2025Q1</c:v>
                </c:pt>
                <c:pt idx="69">
                  <c:v>2025Q2</c:v>
                </c:pt>
                <c:pt idx="70">
                  <c:v>2025Q3</c:v>
                </c:pt>
                <c:pt idx="71">
                  <c:v>2025Q4</c:v>
                </c:pt>
              </c:strCache>
            </c:strRef>
          </c:cat>
          <c:val>
            <c:numRef>
              <c:f>'Grafikon T2-6 eurostat'!$Y$24:$Y$95</c:f>
              <c:numCache>
                <c:formatCode>General</c:formatCode>
                <c:ptCount val="72"/>
                <c:pt idx="0">
                  <c:v>105.24041058887089</c:v>
                </c:pt>
                <c:pt idx="1">
                  <c:v>104.0518638573744</c:v>
                </c:pt>
                <c:pt idx="2">
                  <c:v>99.081577525661814</c:v>
                </c:pt>
                <c:pt idx="3">
                  <c:v>91.626148028092928</c:v>
                </c:pt>
                <c:pt idx="4">
                  <c:v>83.846569421934078</c:v>
                </c:pt>
                <c:pt idx="5">
                  <c:v>80.60507833603458</c:v>
                </c:pt>
                <c:pt idx="6">
                  <c:v>83.630470016207454</c:v>
                </c:pt>
                <c:pt idx="7">
                  <c:v>87.196110210696929</c:v>
                </c:pt>
                <c:pt idx="8">
                  <c:v>84.819016747703941</c:v>
                </c:pt>
                <c:pt idx="9">
                  <c:v>85.143165856293891</c:v>
                </c:pt>
                <c:pt idx="10">
                  <c:v>87.844408427876814</c:v>
                </c:pt>
                <c:pt idx="11">
                  <c:v>85.791464073473804</c:v>
                </c:pt>
                <c:pt idx="12">
                  <c:v>89.032955159373316</c:v>
                </c:pt>
                <c:pt idx="13">
                  <c:v>85.683414370610478</c:v>
                </c:pt>
                <c:pt idx="14">
                  <c:v>85.359265262020529</c:v>
                </c:pt>
                <c:pt idx="15">
                  <c:v>83.846569421934078</c:v>
                </c:pt>
                <c:pt idx="16">
                  <c:v>80.064829821717993</c:v>
                </c:pt>
                <c:pt idx="17">
                  <c:v>86.87196110210698</c:v>
                </c:pt>
                <c:pt idx="18">
                  <c:v>84.386817936250665</c:v>
                </c:pt>
                <c:pt idx="19">
                  <c:v>87.304159913560241</c:v>
                </c:pt>
                <c:pt idx="20">
                  <c:v>86.115613182063754</c:v>
                </c:pt>
                <c:pt idx="21">
                  <c:v>89.573203673689903</c:v>
                </c:pt>
                <c:pt idx="22">
                  <c:v>92.274446245272827</c:v>
                </c:pt>
                <c:pt idx="23">
                  <c:v>89.789303079416527</c:v>
                </c:pt>
                <c:pt idx="24">
                  <c:v>86.331712587790392</c:v>
                </c:pt>
                <c:pt idx="25">
                  <c:v>85.035116153430579</c:v>
                </c:pt>
                <c:pt idx="26">
                  <c:v>83.522420313344142</c:v>
                </c:pt>
                <c:pt idx="27">
                  <c:v>84.927066450567253</c:v>
                </c:pt>
                <c:pt idx="28">
                  <c:v>89.573203673689903</c:v>
                </c:pt>
                <c:pt idx="29">
                  <c:v>89.897352782279853</c:v>
                </c:pt>
                <c:pt idx="30">
                  <c:v>89.357104267963265</c:v>
                </c:pt>
                <c:pt idx="31">
                  <c:v>90.977849810913028</c:v>
                </c:pt>
                <c:pt idx="32">
                  <c:v>91.950297136682863</c:v>
                </c:pt>
                <c:pt idx="33">
                  <c:v>94.867639113992439</c:v>
                </c:pt>
                <c:pt idx="34">
                  <c:v>94.21934089681254</c:v>
                </c:pt>
                <c:pt idx="35">
                  <c:v>96.812533765532137</c:v>
                </c:pt>
                <c:pt idx="36">
                  <c:v>98.757428417071864</c:v>
                </c:pt>
                <c:pt idx="37">
                  <c:v>101.4586709886548</c:v>
                </c:pt>
                <c:pt idx="38">
                  <c:v>102.64721772015126</c:v>
                </c:pt>
                <c:pt idx="39">
                  <c:v>101.89086980010804</c:v>
                </c:pt>
                <c:pt idx="40">
                  <c:v>102.32306861156133</c:v>
                </c:pt>
                <c:pt idx="41">
                  <c:v>104.0518638573744</c:v>
                </c:pt>
                <c:pt idx="42">
                  <c:v>103.51161534305781</c:v>
                </c:pt>
                <c:pt idx="43">
                  <c:v>101.02647217720151</c:v>
                </c:pt>
                <c:pt idx="44">
                  <c:v>101.56672069151811</c:v>
                </c:pt>
                <c:pt idx="45">
                  <c:v>101.24257158292815</c:v>
                </c:pt>
                <c:pt idx="46">
                  <c:v>104.26796326310104</c:v>
                </c:pt>
                <c:pt idx="47">
                  <c:v>105.13236088600758</c:v>
                </c:pt>
                <c:pt idx="48">
                  <c:v>102.64721772015126</c:v>
                </c:pt>
                <c:pt idx="49">
                  <c:v>90.437601296596441</c:v>
                </c:pt>
                <c:pt idx="50">
                  <c:v>106.21285791464075</c:v>
                </c:pt>
                <c:pt idx="51">
                  <c:v>106.42895732036737</c:v>
                </c:pt>
                <c:pt idx="52">
                  <c:v>108.04970286331712</c:v>
                </c:pt>
                <c:pt idx="53">
                  <c:v>105.88870880605079</c:v>
                </c:pt>
                <c:pt idx="54">
                  <c:v>107.72555375472719</c:v>
                </c:pt>
                <c:pt idx="55">
                  <c:v>109.77849810913021</c:v>
                </c:pt>
                <c:pt idx="56">
                  <c:v>111.39924365207996</c:v>
                </c:pt>
                <c:pt idx="57">
                  <c:v>111.72339276066991</c:v>
                </c:pt>
                <c:pt idx="58">
                  <c:v>106.96920583468396</c:v>
                </c:pt>
                <c:pt idx="59">
                  <c:v>108.48190167477041</c:v>
                </c:pt>
                <c:pt idx="60">
                  <c:v>110.53484602917342</c:v>
                </c:pt>
                <c:pt idx="61">
                  <c:v>110.9670448406267</c:v>
                </c:pt>
                <c:pt idx="62">
                  <c:v>109.88654781199352</c:v>
                </c:pt>
                <c:pt idx="63">
                  <c:v>111.93949216639653</c:v>
                </c:pt>
                <c:pt idx="64">
                  <c:v>112.26364127498651</c:v>
                </c:pt>
                <c:pt idx="65">
                  <c:v>114.96488384656942</c:v>
                </c:pt>
                <c:pt idx="66">
                  <c:v>117.01782820097245</c:v>
                </c:pt>
                <c:pt idx="67">
                  <c:v>117.77417612101566</c:v>
                </c:pt>
                <c:pt idx="68">
                  <c:v>118.96272285251214</c:v>
                </c:pt>
                <c:pt idx="69">
                  <c:v>118.63857374392222</c:v>
                </c:pt>
                <c:pt idx="70">
                  <c:v>118.74662344678552</c:v>
                </c:pt>
                <c:pt idx="71">
                  <c:v>111.93949216639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3C-43A1-AEB3-AB58B42159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349322336"/>
        <c:axId val="-1349337568"/>
      </c:lineChart>
      <c:catAx>
        <c:axId val="-1349322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700"/>
            </a:pPr>
            <a:endParaRPr lang="en-US"/>
          </a:p>
        </c:txPr>
        <c:crossAx val="-1349337568"/>
        <c:crossesAt val="70"/>
        <c:auto val="1"/>
        <c:lblAlgn val="ctr"/>
        <c:lblOffset val="100"/>
        <c:tickLblSkip val="3"/>
        <c:tickMarkSkip val="1"/>
        <c:noMultiLvlLbl val="0"/>
      </c:catAx>
      <c:valAx>
        <c:axId val="-1349337568"/>
        <c:scaling>
          <c:orientation val="minMax"/>
          <c:max val="125"/>
          <c:min val="75"/>
        </c:scaling>
        <c:delete val="0"/>
        <c:axPos val="l"/>
        <c:majorGridlines>
          <c:spPr>
            <a:ln w="12700">
              <a:solidFill>
                <a:srgbClr val="C0C0C0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-1349322336"/>
        <c:crosses val="autoZero"/>
        <c:crossBetween val="between"/>
        <c:majorUnit val="5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4260179153094463"/>
          <c:y val="0.90894191919191925"/>
          <c:w val="0.77918679876945351"/>
          <c:h val="7.5733982047424764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0"/>
    <c:dispBlanksAs val="gap"/>
    <c:showDLblsOverMax val="0"/>
  </c:chart>
  <c:spPr>
    <a:noFill/>
    <a:ln w="9525">
      <a:solidFill>
        <a:schemeClr val="tx1"/>
      </a:solidFill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 panose="020B0604020202020204" pitchFamily="34" charset="0"/>
          <a:ea typeface="Times New Roman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026743498817968E-2"/>
          <c:y val="5.9154810298102982E-2"/>
          <c:w val="0.87257116824271075"/>
          <c:h val="0.602238313008130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abela T2-5'!$W$6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'Tabela T2-5'!$V$7:$V$10</c:f>
              <c:strCache>
                <c:ptCount val="4"/>
                <c:pt idx="0">
                  <c:v>Ukupno</c:v>
                </c:pt>
                <c:pt idx="1">
                  <c:v>Rudarstvo</c:v>
                </c:pt>
                <c:pt idx="2">
                  <c:v>Prerađivačka industrija</c:v>
                </c:pt>
                <c:pt idx="3">
                  <c:v>Snabdevanje el. energijom, gasom i klimatizacija </c:v>
                </c:pt>
              </c:strCache>
            </c:strRef>
          </c:cat>
          <c:val>
            <c:numRef>
              <c:f>'Tabela T2-5'!$W$7:$W$10</c:f>
              <c:numCache>
                <c:formatCode>0.0</c:formatCode>
                <c:ptCount val="4"/>
                <c:pt idx="0">
                  <c:v>0.90000000000000568</c:v>
                </c:pt>
                <c:pt idx="1">
                  <c:v>4.7000000000000028</c:v>
                </c:pt>
                <c:pt idx="2">
                  <c:v>1.0999999999999943</c:v>
                </c:pt>
                <c:pt idx="3">
                  <c:v>-1.7999999999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D9-4615-A18C-66FE84ECA2D9}"/>
            </c:ext>
          </c:extLst>
        </c:ser>
        <c:ser>
          <c:idx val="1"/>
          <c:order val="1"/>
          <c:tx>
            <c:strRef>
              <c:f>'Tabela T2-5'!$X$6</c:f>
              <c:strCache>
                <c:ptCount val="1"/>
                <c:pt idx="0">
                  <c:v>Q4 2025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'Tabela T2-5'!$V$7:$V$10</c:f>
              <c:strCache>
                <c:ptCount val="4"/>
                <c:pt idx="0">
                  <c:v>Ukupno</c:v>
                </c:pt>
                <c:pt idx="1">
                  <c:v>Rudarstvo</c:v>
                </c:pt>
                <c:pt idx="2">
                  <c:v>Prerađivačka industrija</c:v>
                </c:pt>
                <c:pt idx="3">
                  <c:v>Snabdevanje el. energijom, gasom i klimatizacija </c:v>
                </c:pt>
              </c:strCache>
            </c:strRef>
          </c:cat>
          <c:val>
            <c:numRef>
              <c:f>'Tabela T2-5'!$X$7:$X$10</c:f>
              <c:numCache>
                <c:formatCode>0.0</c:formatCode>
                <c:ptCount val="4"/>
                <c:pt idx="0">
                  <c:v>-3.8792588563140527</c:v>
                </c:pt>
                <c:pt idx="1">
                  <c:v>4.3229287547098352</c:v>
                </c:pt>
                <c:pt idx="2">
                  <c:v>-4.3297931396844405</c:v>
                </c:pt>
                <c:pt idx="3">
                  <c:v>-6.0884216717964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D9-4615-A18C-66FE84ECA2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49332672"/>
        <c:axId val="-1349331584"/>
      </c:barChart>
      <c:catAx>
        <c:axId val="-134933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31584"/>
        <c:crosses val="autoZero"/>
        <c:auto val="1"/>
        <c:lblAlgn val="ctr"/>
        <c:lblOffset val="100"/>
        <c:noMultiLvlLbl val="0"/>
      </c:catAx>
      <c:valAx>
        <c:axId val="-1349331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32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894094488188984"/>
          <c:y val="0.87060403907844852"/>
          <c:w val="0.24211811023622049"/>
          <c:h val="7.38404053659959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66394295052741E-2"/>
          <c:y val="2.9529675726018119E-2"/>
          <c:w val="0.89003417025701981"/>
          <c:h val="0.66164761662856664"/>
        </c:manualLayout>
      </c:layout>
      <c:lineChart>
        <c:grouping val="standard"/>
        <c:varyColors val="0"/>
        <c:ser>
          <c:idx val="0"/>
          <c:order val="0"/>
          <c:tx>
            <c:strRef>
              <c:f>'G1'!$B$1</c:f>
              <c:strCache>
                <c:ptCount val="1"/>
                <c:pt idx="0">
                  <c:v>Stopa 
zaposlenosti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1'!$A$2:$A$12</c:f>
              <c:strCache>
                <c:ptCount val="11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Q1 2025</c:v>
                </c:pt>
                <c:pt idx="8">
                  <c:v>Q2 2025</c:v>
                </c:pt>
                <c:pt idx="9">
                  <c:v>Q3 2025</c:v>
                </c:pt>
                <c:pt idx="10">
                  <c:v>Q4 2025</c:v>
                </c:pt>
              </c:strCache>
            </c:strRef>
          </c:cat>
          <c:val>
            <c:numRef>
              <c:f>'G1'!$B$2:$B$12</c:f>
              <c:numCache>
                <c:formatCode>General</c:formatCode>
                <c:ptCount val="11"/>
                <c:pt idx="0">
                  <c:v>45.6</c:v>
                </c:pt>
                <c:pt idx="1">
                  <c:v>46.1</c:v>
                </c:pt>
                <c:pt idx="2">
                  <c:v>46.3</c:v>
                </c:pt>
                <c:pt idx="3">
                  <c:v>47.8</c:v>
                </c:pt>
                <c:pt idx="4">
                  <c:v>49.5</c:v>
                </c:pt>
                <c:pt idx="5">
                  <c:v>50.2</c:v>
                </c:pt>
                <c:pt idx="6">
                  <c:v>51.4</c:v>
                </c:pt>
                <c:pt idx="7">
                  <c:v>51.4</c:v>
                </c:pt>
                <c:pt idx="8">
                  <c:v>51.5</c:v>
                </c:pt>
                <c:pt idx="9">
                  <c:v>51.3</c:v>
                </c:pt>
                <c:pt idx="10">
                  <c:v>5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34-4926-81B8-16E712F8AF51}"/>
            </c:ext>
          </c:extLst>
        </c:ser>
        <c:ser>
          <c:idx val="1"/>
          <c:order val="1"/>
          <c:tx>
            <c:strRef>
              <c:f>'G1'!$C$1</c:f>
              <c:strCache>
                <c:ptCount val="1"/>
                <c:pt idx="0">
                  <c:v>Stopa 
nezaposlenosti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prstDash val="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1'!$A$2:$A$12</c:f>
              <c:strCache>
                <c:ptCount val="11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Q1 2025</c:v>
                </c:pt>
                <c:pt idx="8">
                  <c:v>Q2 2025</c:v>
                </c:pt>
                <c:pt idx="9">
                  <c:v>Q3 2025</c:v>
                </c:pt>
                <c:pt idx="10">
                  <c:v>Q4 2025</c:v>
                </c:pt>
              </c:strCache>
            </c:strRef>
          </c:cat>
          <c:val>
            <c:numRef>
              <c:f>'G1'!$C$2:$C$12</c:f>
              <c:numCache>
                <c:formatCode>General</c:formatCode>
                <c:ptCount val="11"/>
                <c:pt idx="0">
                  <c:v>13.7</c:v>
                </c:pt>
                <c:pt idx="1">
                  <c:v>11.3</c:v>
                </c:pt>
                <c:pt idx="2">
                  <c:v>9.6999999999999993</c:v>
                </c:pt>
                <c:pt idx="3">
                  <c:v>11.1</c:v>
                </c:pt>
                <c:pt idx="4">
                  <c:v>9.5</c:v>
                </c:pt>
                <c:pt idx="5">
                  <c:v>9.4</c:v>
                </c:pt>
                <c:pt idx="6">
                  <c:v>8.6</c:v>
                </c:pt>
                <c:pt idx="7">
                  <c:v>9.1</c:v>
                </c:pt>
                <c:pt idx="8">
                  <c:v>8.5</c:v>
                </c:pt>
                <c:pt idx="9">
                  <c:v>8.1999999999999993</c:v>
                </c:pt>
                <c:pt idx="10">
                  <c:v>8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34-4926-81B8-16E712F8A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349329952"/>
        <c:axId val="-1213644448"/>
      </c:lineChart>
      <c:catAx>
        <c:axId val="-1349329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4448"/>
        <c:crosses val="autoZero"/>
        <c:auto val="1"/>
        <c:lblAlgn val="ctr"/>
        <c:lblOffset val="100"/>
        <c:noMultiLvlLbl val="0"/>
      </c:catAx>
      <c:valAx>
        <c:axId val="-1213644448"/>
        <c:scaling>
          <c:orientation val="minMax"/>
          <c:min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349329952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6218986777596197E-2"/>
          <c:y val="0.85000508001016006"/>
          <c:w val="0.94604516416579998"/>
          <c:h val="0.117736855473710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 lang="en-US" sz="900" b="0" i="0" u="none" strike="noStrike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G3'!$E$23</c:f>
              <c:strCache>
                <c:ptCount val="1"/>
                <c:pt idx="0">
                  <c:v>Javni sekto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G3'!$D$24:$D$34</c:f>
              <c:strCache>
                <c:ptCount val="11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Q1 2025</c:v>
                </c:pt>
                <c:pt idx="8">
                  <c:v>Q2 2025</c:v>
                </c:pt>
                <c:pt idx="9">
                  <c:v>Q3 2025</c:v>
                </c:pt>
                <c:pt idx="10">
                  <c:v>Q4 2025</c:v>
                </c:pt>
              </c:strCache>
            </c:strRef>
          </c:cat>
          <c:val>
            <c:numRef>
              <c:f>'G3'!$E$24:$E$34</c:f>
              <c:numCache>
                <c:formatCode>0.0%</c:formatCode>
                <c:ptCount val="11"/>
                <c:pt idx="0">
                  <c:v>-1.10396094530123E-2</c:v>
                </c:pt>
                <c:pt idx="1">
                  <c:v>-1.0103643184990352E-2</c:v>
                </c:pt>
                <c:pt idx="2">
                  <c:v>9.3167598342658309E-4</c:v>
                </c:pt>
                <c:pt idx="3">
                  <c:v>5.434990750191826E-3</c:v>
                </c:pt>
                <c:pt idx="4">
                  <c:v>9.6270890021314948E-3</c:v>
                </c:pt>
                <c:pt idx="5">
                  <c:v>4.1303741613765155E-3</c:v>
                </c:pt>
                <c:pt idx="6">
                  <c:v>3.2671837529485437E-3</c:v>
                </c:pt>
                <c:pt idx="7">
                  <c:v>-3.1504160957622762E-3</c:v>
                </c:pt>
                <c:pt idx="8">
                  <c:v>-4.7049907380151135E-3</c:v>
                </c:pt>
                <c:pt idx="9">
                  <c:v>-3.8392072714683589E-3</c:v>
                </c:pt>
                <c:pt idx="10">
                  <c:v>-1.060954029120531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843-4642-8D96-3377F8B453BC}"/>
            </c:ext>
          </c:extLst>
        </c:ser>
        <c:ser>
          <c:idx val="1"/>
          <c:order val="1"/>
          <c:tx>
            <c:strRef>
              <c:f>'G3'!$F$23</c:f>
              <c:strCache>
                <c:ptCount val="1"/>
                <c:pt idx="0">
                  <c:v>Privatni sekto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G3'!$D$24:$D$34</c:f>
              <c:strCache>
                <c:ptCount val="11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Q1 2025</c:v>
                </c:pt>
                <c:pt idx="8">
                  <c:v>Q2 2025</c:v>
                </c:pt>
                <c:pt idx="9">
                  <c:v>Q3 2025</c:v>
                </c:pt>
                <c:pt idx="10">
                  <c:v>Q4 2025</c:v>
                </c:pt>
              </c:strCache>
            </c:strRef>
          </c:cat>
          <c:val>
            <c:numRef>
              <c:f>'G3'!$F$24:$F$34</c:f>
              <c:numCache>
                <c:formatCode>0.0%</c:formatCode>
                <c:ptCount val="11"/>
                <c:pt idx="0">
                  <c:v>6.0062705482112566E-2</c:v>
                </c:pt>
                <c:pt idx="1">
                  <c:v>3.791754584396867E-2</c:v>
                </c:pt>
                <c:pt idx="2">
                  <c:v>3.1488609999646977E-2</c:v>
                </c:pt>
                <c:pt idx="3">
                  <c:v>3.8918443494736277E-2</c:v>
                </c:pt>
                <c:pt idx="4">
                  <c:v>2.1773817093720726E-2</c:v>
                </c:pt>
                <c:pt idx="5">
                  <c:v>3.1002960745034613E-2</c:v>
                </c:pt>
                <c:pt idx="6">
                  <c:v>6.243188752465656E-3</c:v>
                </c:pt>
                <c:pt idx="7">
                  <c:v>3.5464812091228204E-3</c:v>
                </c:pt>
                <c:pt idx="8">
                  <c:v>5.5674734549351346E-3</c:v>
                </c:pt>
                <c:pt idx="9">
                  <c:v>3.7432791125024956E-3</c:v>
                </c:pt>
                <c:pt idx="10">
                  <c:v>-6.8383202399590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43-4642-8D96-3377F8B453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13642816"/>
        <c:axId val="-1213640640"/>
      </c:lineChart>
      <c:catAx>
        <c:axId val="-1213642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0640"/>
        <c:crosses val="autoZero"/>
        <c:auto val="1"/>
        <c:lblAlgn val="ctr"/>
        <c:lblOffset val="100"/>
        <c:noMultiLvlLbl val="0"/>
      </c:catAx>
      <c:valAx>
        <c:axId val="-121364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2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04619073470865E-2"/>
          <c:y val="4.3021680216802166E-2"/>
          <c:w val="0.89160762757871881"/>
          <c:h val="0.67627032520325203"/>
        </c:manualLayout>
      </c:layout>
      <c:lineChart>
        <c:grouping val="standard"/>
        <c:varyColors val="0"/>
        <c:ser>
          <c:idx val="0"/>
          <c:order val="0"/>
          <c:tx>
            <c:v>Indeks realnih zarada (2011=100)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6000" anchor="ctr" anchorCtr="1">
                <a:no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5'!$A$2:$A$18</c:f>
              <c:strCache>
                <c:ptCount val="1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Q1 2025</c:v>
                </c:pt>
                <c:pt idx="14">
                  <c:v>Q2 2025</c:v>
                </c:pt>
                <c:pt idx="15">
                  <c:v>Q3 2025</c:v>
                </c:pt>
                <c:pt idx="16">
                  <c:v>Q4 2025</c:v>
                </c:pt>
              </c:strCache>
            </c:strRef>
          </c:cat>
          <c:val>
            <c:numRef>
              <c:f>'G5'!$C$2:$C$18</c:f>
              <c:numCache>
                <c:formatCode>0.0</c:formatCode>
                <c:ptCount val="17"/>
                <c:pt idx="0" formatCode="General">
                  <c:v>101.1</c:v>
                </c:pt>
                <c:pt idx="1">
                  <c:v>99.583499999999987</c:v>
                </c:pt>
                <c:pt idx="2">
                  <c:v>98.089747499999987</c:v>
                </c:pt>
                <c:pt idx="3">
                  <c:v>96.029862802499991</c:v>
                </c:pt>
                <c:pt idx="4">
                  <c:v>98.430609372562486</c:v>
                </c:pt>
                <c:pt idx="5">
                  <c:v>99.316484856915565</c:v>
                </c:pt>
                <c:pt idx="6">
                  <c:v>103.68641019061987</c:v>
                </c:pt>
                <c:pt idx="7">
                  <c:v>112.49975505682256</c:v>
                </c:pt>
                <c:pt idx="8">
                  <c:v>121.1622361961979</c:v>
                </c:pt>
                <c:pt idx="9">
                  <c:v>127.70499695079259</c:v>
                </c:pt>
                <c:pt idx="10">
                  <c:v>129.87598189895607</c:v>
                </c:pt>
                <c:pt idx="11">
                  <c:v>132.99300546453102</c:v>
                </c:pt>
                <c:pt idx="12">
                  <c:v>145.09536896180333</c:v>
                </c:pt>
                <c:pt idx="13">
                  <c:v>153.03186374620407</c:v>
                </c:pt>
                <c:pt idx="14">
                  <c:v>153.96447563395625</c:v>
                </c:pt>
                <c:pt idx="15">
                  <c:v>152.4083824807112</c:v>
                </c:pt>
                <c:pt idx="16">
                  <c:v>163.69659473816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CE-4F1A-8D7D-3073864098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13631392"/>
        <c:axId val="-1213643904"/>
      </c:lineChart>
      <c:catAx>
        <c:axId val="-1213631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43904"/>
        <c:crosses val="autoZero"/>
        <c:auto val="1"/>
        <c:lblAlgn val="ctr"/>
        <c:lblOffset val="100"/>
        <c:noMultiLvlLbl val="0"/>
      </c:catAx>
      <c:valAx>
        <c:axId val="-1213643904"/>
        <c:scaling>
          <c:orientation val="minMax"/>
          <c:min val="9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13631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199760224393775"/>
          <c:y val="0.87714303861788623"/>
          <c:w val="0.49600456930872239"/>
          <c:h val="7.98352811653116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237</cdr:x>
      <cdr:y>0.21815</cdr:y>
    </cdr:from>
    <cdr:to>
      <cdr:x>0.33947</cdr:x>
      <cdr:y>0.4457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0FE842B-B61E-3047-9EFD-F4CFD4B0CC40}"/>
            </a:ext>
          </a:extLst>
        </cdr:cNvPr>
        <cdr:cNvSpPr txBox="1"/>
      </cdr:nvSpPr>
      <cdr:spPr>
        <a:xfrm xmlns:a="http://schemas.openxmlformats.org/drawingml/2006/main">
          <a:off x="762001" y="515172"/>
          <a:ext cx="738716" cy="537487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3175"/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r-Latn-RS" sz="900" kern="1200" dirty="0">
              <a:latin typeface="Arial Narrow" panose="020B0606020202030204" pitchFamily="34" charset="0"/>
            </a:rPr>
            <a:t>Rast tenzija u Iranu i Venecueli</a:t>
          </a:r>
          <a:endParaRPr lang="en-GB" sz="900" kern="1200" dirty="0">
            <a:latin typeface="Arial Narrow" panose="020B0606020202030204" pitchFamily="34" charset="0"/>
          </a:endParaRPr>
        </a:p>
      </cdr:txBody>
    </cdr:sp>
  </cdr:relSizeAnchor>
  <cdr:relSizeAnchor xmlns:cdr="http://schemas.openxmlformats.org/drawingml/2006/chartDrawing">
    <cdr:from>
      <cdr:x>0.35829</cdr:x>
      <cdr:y>0.2957</cdr:y>
    </cdr:from>
    <cdr:to>
      <cdr:x>0.55157</cdr:x>
      <cdr:y>0.39915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B62A128-B932-EAD0-2F33-D670637962C0}"/>
            </a:ext>
          </a:extLst>
        </cdr:cNvPr>
        <cdr:cNvSpPr txBox="1"/>
      </cdr:nvSpPr>
      <cdr:spPr>
        <a:xfrm xmlns:a="http://schemas.openxmlformats.org/drawingml/2006/main">
          <a:off x="1583924" y="698323"/>
          <a:ext cx="854478" cy="24430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3175"/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r-Latn-RS" sz="900" kern="1200" dirty="0">
              <a:latin typeface="Arial Narrow" panose="020B0606020202030204" pitchFamily="34" charset="0"/>
            </a:rPr>
            <a:t>Protesti</a:t>
          </a:r>
          <a:r>
            <a:rPr lang="sr-Latn-RS" sz="900" kern="1200" baseline="0" dirty="0">
              <a:latin typeface="Arial Narrow" panose="020B0606020202030204" pitchFamily="34" charset="0"/>
            </a:rPr>
            <a:t> u Iranu</a:t>
          </a:r>
          <a:endParaRPr lang="en-GB" sz="900" kern="1200" dirty="0">
            <a:latin typeface="Arial Narrow" panose="020B0606020202030204" pitchFamily="34" charset="0"/>
          </a:endParaRPr>
        </a:p>
      </cdr:txBody>
    </cdr:sp>
  </cdr:relSizeAnchor>
  <cdr:relSizeAnchor xmlns:cdr="http://schemas.openxmlformats.org/drawingml/2006/chartDrawing">
    <cdr:from>
      <cdr:x>0.7067</cdr:x>
      <cdr:y>0.24904</cdr:y>
    </cdr:from>
    <cdr:to>
      <cdr:x>0.8446</cdr:x>
      <cdr:y>0.37811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EB62A128-B932-EAD0-2F33-D670637962C0}"/>
            </a:ext>
          </a:extLst>
        </cdr:cNvPr>
        <cdr:cNvSpPr txBox="1"/>
      </cdr:nvSpPr>
      <cdr:spPr>
        <a:xfrm xmlns:a="http://schemas.openxmlformats.org/drawingml/2006/main">
          <a:off x="3124201" y="588136"/>
          <a:ext cx="609600" cy="3048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3175"/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r-Latn-RS" sz="800" kern="1200" dirty="0">
              <a:latin typeface="Arial" panose="020B0604020202020204" pitchFamily="34" charset="0"/>
              <a:cs typeface="Arial" panose="020B0604020202020204" pitchFamily="34" charset="0"/>
            </a:rPr>
            <a:t>Početak</a:t>
          </a:r>
          <a:r>
            <a:rPr lang="sr-Latn-RS" sz="800" kern="1200" baseline="0" dirty="0">
              <a:latin typeface="Arial" panose="020B0604020202020204" pitchFamily="34" charset="0"/>
              <a:cs typeface="Arial" panose="020B0604020202020204" pitchFamily="34" charset="0"/>
            </a:rPr>
            <a:t> rata</a:t>
          </a:r>
          <a:endParaRPr lang="en-GB" sz="8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6184</cdr:x>
      <cdr:y>0.33901</cdr:y>
    </cdr:from>
    <cdr:to>
      <cdr:x>0.98276</cdr:x>
      <cdr:y>0.53434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EB62A128-B932-EAD0-2F33-D670637962C0}"/>
            </a:ext>
          </a:extLst>
        </cdr:cNvPr>
        <cdr:cNvSpPr txBox="1"/>
      </cdr:nvSpPr>
      <cdr:spPr>
        <a:xfrm xmlns:a="http://schemas.openxmlformats.org/drawingml/2006/main">
          <a:off x="3810001" y="800617"/>
          <a:ext cx="534599" cy="461286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3175"/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r-Latn-RS" sz="800" kern="1200" dirty="0">
              <a:latin typeface="Arial Narrow" panose="020B0606020202030204" pitchFamily="34" charset="0"/>
            </a:rPr>
            <a:t>Najava</a:t>
          </a:r>
          <a:r>
            <a:rPr lang="sr-Latn-RS" sz="800" kern="1200" baseline="0" dirty="0">
              <a:latin typeface="Arial Narrow" panose="020B0606020202030204" pitchFamily="34" charset="0"/>
            </a:rPr>
            <a:t> puštanja rezerevi</a:t>
          </a:r>
          <a:endParaRPr lang="en-GB" sz="800" kern="1200" dirty="0">
            <a:latin typeface="Arial Narrow" panose="020B060602020203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7017</cdr:x>
      <cdr:y>0.56531</cdr:y>
    </cdr:from>
    <cdr:to>
      <cdr:x>0.65026</cdr:x>
      <cdr:y>0.617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66667" y="2122294"/>
          <a:ext cx="1563745" cy="1955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0" tIns="0" rIns="0" bIns="0" rtlCol="0"/>
        <a:lstStyle xmlns:a="http://schemas.openxmlformats.org/drawingml/2006/main"/>
        <a:p xmlns:a="http://schemas.openxmlformats.org/drawingml/2006/main">
          <a:r>
            <a:rPr lang="en-US" sz="1100" b="1">
              <a:solidFill>
                <a:srgbClr val="0070C0"/>
              </a:solidFill>
            </a:rPr>
            <a:t>referentna stopa</a:t>
          </a:r>
        </a:p>
      </cdr:txBody>
    </cdr:sp>
  </cdr:relSizeAnchor>
  <cdr:relSizeAnchor xmlns:cdr="http://schemas.openxmlformats.org/drawingml/2006/chartDrawing">
    <cdr:from>
      <cdr:x>0.62053</cdr:x>
      <cdr:y>0.29705</cdr:y>
    </cdr:from>
    <cdr:to>
      <cdr:x>0.74552</cdr:x>
      <cdr:y>0.3621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464419" y="1115205"/>
          <a:ext cx="697820" cy="2443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>
              <a:solidFill>
                <a:srgbClr val="00B050"/>
              </a:solidFill>
            </a:rPr>
            <a:t>inflacija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0"/>
            <a:ext cx="2946448" cy="496016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230" y="10"/>
            <a:ext cx="2944869" cy="496016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r">
              <a:defRPr sz="1200"/>
            </a:lvl1pPr>
          </a:lstStyle>
          <a:p>
            <a:fld id="{8BCD1AD0-554C-4430-815D-7F06624027E1}" type="datetimeFigureOut">
              <a:rPr lang="en-US" smtClean="0"/>
              <a:pPr/>
              <a:t>3/2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432228"/>
            <a:ext cx="2946448" cy="496016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230" y="9432228"/>
            <a:ext cx="2944869" cy="496016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r">
              <a:defRPr sz="1200"/>
            </a:lvl1pPr>
          </a:lstStyle>
          <a:p>
            <a:fld id="{5EB88924-5EE5-49CF-9CD7-46AC3AED65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7375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7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9" y="7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/>
          <a:lstStyle>
            <a:lvl1pPr algn="r">
              <a:defRPr sz="1200"/>
            </a:lvl1pPr>
          </a:lstStyle>
          <a:p>
            <a:fld id="{5438C5D9-579A-4C11-94F1-C18EBED6A766}" type="datetimeFigureOut">
              <a:rPr lang="en-US" smtClean="0"/>
              <a:pPr/>
              <a:t>3/26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35" tIns="45417" rIns="90835" bIns="4541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6662"/>
            <a:ext cx="5438140" cy="4468415"/>
          </a:xfrm>
          <a:prstGeom prst="rect">
            <a:avLst/>
          </a:prstGeom>
        </p:spPr>
        <p:txBody>
          <a:bodyPr vert="horz" lIns="90835" tIns="45417" rIns="90835" bIns="4541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431608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9" y="9431608"/>
            <a:ext cx="2945659" cy="496491"/>
          </a:xfrm>
          <a:prstGeom prst="rect">
            <a:avLst/>
          </a:prstGeom>
        </p:spPr>
        <p:txBody>
          <a:bodyPr vert="horz" lIns="90835" tIns="45417" rIns="90835" bIns="45417" rtlCol="0" anchor="b"/>
          <a:lstStyle>
            <a:lvl1pPr algn="r">
              <a:defRPr sz="1200"/>
            </a:lvl1pPr>
          </a:lstStyle>
          <a:p>
            <a:fld id="{60396250-CD69-4128-A88A-D5A62B61DF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6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92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74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939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510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6250-CD69-4128-A88A-D5A62B61DFF3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437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D037E3-632A-4ACF-976F-89A4BF18E3B1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8DDA5-5A76-46A7-9A34-F2EB761C2761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0376D-12DB-44E3-9745-6DC28FE02E38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A162D-121F-45F0-BF2B-B9D543A3CCFA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914400"/>
            <a:ext cx="86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948" y="570976"/>
            <a:ext cx="906511" cy="250813"/>
          </a:xfrm>
          <a:prstGeom prst="rect">
            <a:avLst/>
          </a:prstGeom>
        </p:spPr>
      </p:pic>
      <p:pic>
        <p:nvPicPr>
          <p:cNvPr id="12" name="Picture 11" descr="Ekof logo - bela pozadina horizontalno, latinica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27004" y="131032"/>
            <a:ext cx="1676400" cy="374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7ED64-AE59-4AE2-B4CC-C34DEFC01573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B021D-C04B-4934-8823-C7AD1B971EDE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914400"/>
            <a:ext cx="86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948" y="570976"/>
            <a:ext cx="906511" cy="250813"/>
          </a:xfrm>
          <a:prstGeom prst="rect">
            <a:avLst/>
          </a:prstGeom>
        </p:spPr>
      </p:pic>
      <p:pic>
        <p:nvPicPr>
          <p:cNvPr id="10" name="Picture 9" descr="Ekof logo - bela pozadina horizontalno, latinica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27004" y="131032"/>
            <a:ext cx="1676400" cy="374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8C5AF-2678-4EBA-94F2-9A5FEBF39E2D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40B6A-C987-4D24-B467-406CDB243946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8D527-DF48-465B-93F8-D1E707FA3333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CD4B08-1882-443F-B8B2-4E57986FD4E3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F845E-2972-4B3C-9030-6F49C0A8C13D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8003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99159-95A0-43BF-BA4D-3761060E5702}" type="datetime1">
              <a:rPr lang="en-US" smtClean="0"/>
              <a:pPr/>
              <a:t>3/26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BF574D-3BA4-4D96-967C-501494E42AC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632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8343" y="4967846"/>
            <a:ext cx="7772400" cy="1470025"/>
          </a:xfrm>
        </p:spPr>
        <p:txBody>
          <a:bodyPr vert="horz"/>
          <a:lstStyle/>
          <a:p>
            <a:r>
              <a:rPr lang="sr-Latn-RS" noProof="0" dirty="0">
                <a:latin typeface="Arial" panose="020B0604020202020204" pitchFamily="34" charset="0"/>
                <a:cs typeface="Arial" panose="020B0604020202020204" pitchFamily="34" charset="0"/>
              </a:rPr>
              <a:t>Prezentacija QM83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r="66043"/>
          <a:stretch/>
        </p:blipFill>
        <p:spPr>
          <a:xfrm>
            <a:off x="4267200" y="6035740"/>
            <a:ext cx="1085681" cy="6159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503825"/>
            <a:ext cx="1778943" cy="492197"/>
          </a:xfrm>
          <a:prstGeom prst="rect">
            <a:avLst/>
          </a:prstGeom>
        </p:spPr>
      </p:pic>
      <p:pic>
        <p:nvPicPr>
          <p:cNvPr id="7" name="Picture 6" descr="Ekof logo - bela pozadina horizontalno, latinica.png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33400" y="382416"/>
            <a:ext cx="3289778" cy="735013"/>
          </a:xfrm>
          <a:prstGeom prst="rect">
            <a:avLst/>
          </a:prstGeom>
        </p:spPr>
      </p:pic>
      <p:pic>
        <p:nvPicPr>
          <p:cNvPr id="4" name="Picture 3" descr="A red and white cover with a logo&#10;&#10;AI-generated content may be incorrect.">
            <a:extLst>
              <a:ext uri="{FF2B5EF4-FFF2-40B4-BE49-F238E27FC236}">
                <a16:creationId xmlns:a16="http://schemas.microsoft.com/office/drawing/2014/main" id="{A1241BBA-CC85-1F77-7B04-FC88F40ECE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531" y="1219200"/>
            <a:ext cx="2891018" cy="408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85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000" y="1830387"/>
            <a:ext cx="4038600" cy="4525963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alne zarade su u 2025. ostvarile visok rast od 7,4%, a u Q4 rast je ubrzan na 9,7%</a:t>
            </a:r>
          </a:p>
          <a:p>
            <a:pPr marL="0" indent="0">
              <a:buNone/>
            </a:pP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prošloj godini najviše su povećane zarade u obrazovanju, vodosnabdevanju, smeštaju i ishrani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to su delatnosti koje u poslednjih 15 godine imale nizak rast zarad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jmanji rast u 2025. je u IT sektoru gde su zarade najbrže rasle u poslednjih 15 godina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periodu od 15 godina zarade u IT sektoru su povećane za blizu 200%,  u stručnim i naučnim uslugama za blizu 100%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2000" y="6356350"/>
            <a:ext cx="2133600" cy="365125"/>
          </a:xfrm>
        </p:spPr>
        <p:txBody>
          <a:bodyPr/>
          <a:lstStyle/>
          <a:p>
            <a:fld id="{71BF574D-3BA4-4D96-967C-501494E42AC6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9FB5EB54-6AC5-4144-9143-8AE469654DD9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82635433"/>
              </p:ext>
            </p:extLst>
          </p:nvPr>
        </p:nvGraphicFramePr>
        <p:xfrm>
          <a:off x="4495200" y="1354258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7"/>
          <p:cNvSpPr/>
          <p:nvPr/>
        </p:nvSpPr>
        <p:spPr>
          <a:xfrm>
            <a:off x="4864195" y="1077259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rad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100</a:t>
            </a: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1918147"/>
              </p:ext>
            </p:extLst>
          </p:nvPr>
        </p:nvGraphicFramePr>
        <p:xfrm>
          <a:off x="4495200" y="4111361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96E48F30-C016-19B2-5DE4-EE701F53A708}"/>
              </a:ext>
            </a:extLst>
          </p:cNvPr>
          <p:cNvSpPr txBox="1">
            <a:spLocks/>
          </p:cNvSpPr>
          <p:nvPr/>
        </p:nvSpPr>
        <p:spPr>
          <a:xfrm>
            <a:off x="228600" y="-76993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oslenost i zarade</a:t>
            </a:r>
            <a:endParaRPr lang="en-GB" sz="2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0ADEC3-F5A1-0B0B-8D0C-D5EA49D20481}"/>
              </a:ext>
            </a:extLst>
          </p:cNvPr>
          <p:cNvSpPr/>
          <p:nvPr/>
        </p:nvSpPr>
        <p:spPr>
          <a:xfrm>
            <a:off x="4897998" y="3776829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 rast zarada u periodu 2011-2025. u %</a:t>
            </a:r>
          </a:p>
        </p:txBody>
      </p:sp>
    </p:spTree>
    <p:extLst>
      <p:ext uri="{BB962C8B-B14F-4D97-AF65-F5344CB8AC3E}">
        <p14:creationId xmlns:p14="http://schemas.microsoft.com/office/powerpoint/2010/main" val="2055248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1" y="1830387"/>
            <a:ext cx="4038600" cy="4525963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Već 10-ak godina zarade rastu znatno brže od produktivnosti, zbog čega rastu JTR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Moguće je da su zarade u inicijalnoj godini bile ispod ravnotežnih, ali je sasvim izvesno da su u međuvremenu iznad ravnoteže, koja odgovara sadašnjim performansama privred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rz rast zarada eliminiše radna mesta na kojima se stvara mala dodatna vrednost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držanje zaposlenosti uz rast zarada je moguće uz promenu strukture privrede ka sektorima u kojima se stvara velika dodata vrednost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za to su potrebne velike privatne investicije i bolji privredni ambijent 	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3041531"/>
              </p:ext>
            </p:extLst>
          </p:nvPr>
        </p:nvGraphicFramePr>
        <p:xfrm>
          <a:off x="4648200" y="2268944"/>
          <a:ext cx="4191000" cy="2911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E03977AB-4848-740B-539E-2133B2BB57BD}"/>
              </a:ext>
            </a:extLst>
          </p:cNvPr>
          <p:cNvSpPr txBox="1">
            <a:spLocks/>
          </p:cNvSpPr>
          <p:nvPr/>
        </p:nvSpPr>
        <p:spPr>
          <a:xfrm>
            <a:off x="228600" y="-76993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oslenost i zarade</a:t>
            </a:r>
            <a:endParaRPr lang="en-GB" sz="2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B5A4352-7E09-3C34-0550-2F5C9A23EB94}"/>
              </a:ext>
            </a:extLst>
          </p:cNvPr>
          <p:cNvSpPr/>
          <p:nvPr/>
        </p:nvSpPr>
        <p:spPr>
          <a:xfrm>
            <a:off x="4762500" y="1964939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duktivnost rada i JTR (2017=10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180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 odnosi–tekuće transakcije</a:t>
            </a:r>
            <a:endParaRPr lang="en-GB" sz="26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471999"/>
            <a:ext cx="4038600" cy="4953000"/>
          </a:xfrm>
        </p:spPr>
        <p:txBody>
          <a:bodyPr>
            <a:normAutofit fontScale="47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eficit tekućeg platnog bilansa u 2025. je iznosio 4,9% BDP, što je malo iznad prethodne godine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okviru tekućeg bilansa događaju se strukturne promene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obni deficit i suficit u razmeni usluga su smanjeni  za 0,8% BDP, pa je trgovinski deficit iznosio 4,7% BDP, kao i 2024.  godin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vi put od 2007. trgovinski deficit je manji od deficita u tekućem bilansu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eficit u primarnom dohotku je povećan za 0,3% BDP, dok je suficit u sekundarnom dohotku ostao nepromenjen u odnosu na BDP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vi put od 2007. deficit u primarnom dohotku je veći od suficita u sekundarnom dohotku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budućnosti se očekuje rast deficita u  primarnom dohotku zbor rasta vrednosti stranog kapitala u Srbiji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Q4 deficit tekućeg računa je povećan na 6,2% BDP, čemu je doprineo rast deficita po osnovu primarnog dohotka, dok je trgovinski deficit smanjen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zultati u Q4 su pod velikim uticajem sezonskih faktora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559934181"/>
              </p:ext>
            </p:extLst>
          </p:nvPr>
        </p:nvGraphicFramePr>
        <p:xfrm>
          <a:off x="4508977" y="1380999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8755894"/>
              </p:ext>
            </p:extLst>
          </p:nvPr>
        </p:nvGraphicFramePr>
        <p:xfrm>
          <a:off x="4523300" y="4038599"/>
          <a:ext cx="4420800" cy="2438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DCF079B-E3F1-84CA-00B9-572EB8AA1A59}"/>
              </a:ext>
            </a:extLst>
          </p:cNvPr>
          <p:cNvSpPr/>
          <p:nvPr/>
        </p:nvSpPr>
        <p:spPr>
          <a:xfrm>
            <a:off x="4814377" y="1142400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kući i spoljnotrgovinski deficit, kao % BDP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F8C859-4C56-A39C-395E-E795B29FECD9}"/>
              </a:ext>
            </a:extLst>
          </p:cNvPr>
          <p:cNvSpPr/>
          <p:nvPr/>
        </p:nvSpPr>
        <p:spPr>
          <a:xfrm>
            <a:off x="4953000" y="3810000"/>
            <a:ext cx="3810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bna razmena Srbije, desezonirano</a:t>
            </a:r>
          </a:p>
        </p:txBody>
      </p:sp>
    </p:spTree>
    <p:extLst>
      <p:ext uri="{BB962C8B-B14F-4D97-AF65-F5344CB8AC3E}">
        <p14:creationId xmlns:p14="http://schemas.microsoft.com/office/powerpoint/2010/main" val="6515873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7039" y="1749985"/>
            <a:ext cx="4038600" cy="4525963"/>
          </a:xfrm>
        </p:spPr>
        <p:txBody>
          <a:bodyPr>
            <a:normAutofit fontScale="47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Izvoz i uvoz roba u prošloj godini su znatno povećani, pri čemu je rast izvoza nešto brži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jbrže raste izvoz kapitalnih i intermedijalnih dobra, solidno raste izvoz potrošnih dobar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pada samo izvoz neklasifikovanih dobar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 strani uvoza iznadprosečno raste uvoz potrošnih, kapitalnih i neklasifiskovanih proizvoda, sporije raste uvoz intermedijarnih proizvoda, a opada uvoz energije (cene)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dnos između izvoznih i uvoznih cena u 2025. nije se znatnije promenio – povoljniji za 0,7pp nego u 2024.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četkom 2026. uslovi razmene će se pogoršati zbor rasta cena energenat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oblasti usluga značajno je porastao odliv po osnovu turističkih usluga i priliv od IT usluga </a:t>
            </a:r>
          </a:p>
          <a:p>
            <a:pPr lvl="1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5D92946-E260-445A-87C9-C8F7CB3684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2837030"/>
              </p:ext>
            </p:extLst>
          </p:nvPr>
        </p:nvGraphicFramePr>
        <p:xfrm>
          <a:off x="4418400" y="4114253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9543984"/>
              </p:ext>
            </p:extLst>
          </p:nvPr>
        </p:nvGraphicFramePr>
        <p:xfrm>
          <a:off x="4436161" y="1371600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5F34E7D-62E0-A769-179A-7BAE8D5D3D5D}"/>
              </a:ext>
            </a:extLst>
          </p:cNvPr>
          <p:cNvSpPr/>
          <p:nvPr/>
        </p:nvSpPr>
        <p:spPr>
          <a:xfrm>
            <a:off x="4330555" y="1038822"/>
            <a:ext cx="46482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mene izvoza i uvoza roba po ekonomskoj nameni u 2025., u 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9C00D1-7F73-2CE9-1278-8BA91F7D06AA}"/>
              </a:ext>
            </a:extLst>
          </p:cNvPr>
          <p:cNvSpPr/>
          <p:nvPr/>
        </p:nvSpPr>
        <p:spPr>
          <a:xfrm>
            <a:off x="4613824" y="3874468"/>
            <a:ext cx="42672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deks odnosa razmene (jul 2012 = 100)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EBCE097-F9E6-3018-EA0D-CEE73DC50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 odnosi–tekuće transakcije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793418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9749" y="1352933"/>
            <a:ext cx="4038600" cy="5029200"/>
          </a:xfrm>
        </p:spPr>
        <p:txBody>
          <a:bodyPr>
            <a:normAutofit fontScale="47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eto priliv kapitala u 2025.g je značajno smanjen u odnosu na prethodne godin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kupan neto priliv 2,75 mrld evra, do čega priliv SDI 2,3 mlrd evra</a:t>
            </a: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iliv SDI je više nego prepolovljen u odnosu na višegodišnji prosek usled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manjenja medjunarodne mobilnosti kapital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a troškova poslovanja u Srbiji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tagnacije u EU i političke krize u Srbiji</a:t>
            </a: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a bi ostala atraktivna za strane investitore Srbija mora da unapredi institucionalni ambijent, obrazovanje  i dr. </a:t>
            </a: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 prvi put odliv sredstava po osnovu dohodaka od kapitala veći od priliva SDI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čekivana posledica rasta vrednosti stranog kapitala u Srbiji, to se već događalo u drugim zemljama</a:t>
            </a: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t na Bliskom istoku će kratkoročno smanjiti međunarodnu mobilnost kapitala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evizne rezerve su u 2025. opale za 1,55 mlrd evr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ad je ublažen rastom cena zlata  </a:t>
            </a:r>
          </a:p>
          <a:p>
            <a:pPr lvl="1"/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poljni dug je povećan za 189 miliona evra, dok je njegov udeo u BDP opao za  2,5 pp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javni sektor je smanjio dug, dok je privatni povećao zaduživanj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134907089"/>
              </p:ext>
            </p:extLst>
          </p:nvPr>
        </p:nvGraphicFramePr>
        <p:xfrm>
          <a:off x="4495200" y="2514600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69D7EDF-0FF4-77D5-DE85-EEAE34105D7C}"/>
              </a:ext>
            </a:extLst>
          </p:cNvPr>
          <p:cNvSpPr/>
          <p:nvPr/>
        </p:nvSpPr>
        <p:spPr>
          <a:xfrm>
            <a:off x="4678592" y="2237601"/>
            <a:ext cx="42672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DI i odliv dohotka po osnovu SDI, milioni evr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14BCCE4-6DBD-B567-2D4A-32E1A300F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ljnoekonomski odnosi–kapitalne transakcije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3126300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73222"/>
            <a:ext cx="4038600" cy="4525963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Inflacija u Srbiji je u 2025. iznosila 3,9%, u decembu 2,8%, a u februaru 2,4%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ad ukupne inflacije od septembra prošle godine posledica je  ograničavanja trgovačkih marži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azna inflacija je veća od ukupne i ima rastući trend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rasla je sa 3,8% u oktobru prošle, na 4,2% u februaru ove godin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azna inflacija ukazuje na uticaj sistemskih faktora, kao što su troškovi rad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Inflacija u evropskim zemljama je tokom 2025. opadal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rbija je početkom ove godine imala manju  inflaciju od proseka CIE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stignuto administrativnim merama koje imaju privremeni efeka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8400" y="1295400"/>
            <a:ext cx="4420800" cy="2361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7" name="TextBox 1"/>
          <p:cNvSpPr txBox="1"/>
          <p:nvPr/>
        </p:nvSpPr>
        <p:spPr>
          <a:xfrm>
            <a:off x="5181600" y="1050270"/>
            <a:ext cx="32004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</a:t>
            </a: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ugodišnja inflacija i ciljni koridor, u %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3339105"/>
              </p:ext>
            </p:extLst>
          </p:nvPr>
        </p:nvGraphicFramePr>
        <p:xfrm>
          <a:off x="4418400" y="4026261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BCF61F3-62C2-05AF-1652-FD6FE2A65C91}"/>
              </a:ext>
            </a:extLst>
          </p:cNvPr>
          <p:cNvSpPr txBox="1"/>
          <p:nvPr/>
        </p:nvSpPr>
        <p:spPr>
          <a:xfrm>
            <a:off x="5029200" y="3757283"/>
            <a:ext cx="32004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išnja inflacija u januaru 2026., u %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045CD8C-7BDB-E6B5-2EFE-816343912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kur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5521186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5844" y="1359117"/>
            <a:ext cx="4038600" cy="5197475"/>
          </a:xfrm>
        </p:spPr>
        <p:txBody>
          <a:bodyPr>
            <a:normAutofit fontScale="92500" lnSpcReduction="10000"/>
          </a:bodyPr>
          <a:lstStyle/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Na kretanje inflacije tokom 2025. značajno su uticale cene usluga, hrane i ostalih proizvoda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u Q4 i na početku 2026. cene hrane su delovale dezinflatorno</a:t>
            </a:r>
          </a:p>
          <a:p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Energenti tokom prošle i u prva dva meseca ove godine nisu podsticali inflaciju</a:t>
            </a: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Od kraja februara cene energenata (nafta, gas i dr.) su značajno povećane uz velike varijacije</a:t>
            </a: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Tokom prve tri nedelje marta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cene nafte su povećane za 40-50 %,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cene gasa su povećane za 60-120 %  </a:t>
            </a:r>
          </a:p>
          <a:p>
            <a:pPr marL="457200" lvl="1" indent="0">
              <a:buNone/>
            </a:pPr>
            <a:endParaRPr lang="sr-Latn-R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Rast cena nafte i gasa preneće se na inflaciju, pri čemu visina prenosa zavisi od povećanja tih cena i trajanja perioda visokih cena</a:t>
            </a: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 periodu od nekoliko meseci uticaj može da se ublaži 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smanjenjem akciza, korišćenjem rezervi i administrativnim ograničenjem cena, </a:t>
            </a: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 dužem roku rast cena energenata se u većoj meri prenosi na inflaciju</a:t>
            </a: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Očekuje se ubrzanje inflacije u Srbiji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usled ukidanje administrativne kontole marži 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rasta cena energenata </a:t>
            </a:r>
          </a:p>
          <a:p>
            <a:pPr lvl="1"/>
            <a:r>
              <a:rPr lang="sr-Latn-RS" sz="1100" dirty="0">
                <a:latin typeface="Arial" panose="020B0604020202020204" pitchFamily="34" charset="0"/>
                <a:cs typeface="Arial" panose="020B0604020202020204" pitchFamily="34" charset="0"/>
              </a:rPr>
              <a:t>rasta troškova poslovanja u Srbiji </a:t>
            </a:r>
          </a:p>
          <a:p>
            <a:pPr lvl="1"/>
            <a:endParaRPr lang="sr-Latn-R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 nekoliko narednih meseci inflacija bi mogla da dostigne gornju granicu ciljnog koridora, a nakon toga njeno kretanje će zavisiti od stanja na tržištu energenata i politici NBS i Vlade 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6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00827855"/>
              </p:ext>
            </p:extLst>
          </p:nvPr>
        </p:nvGraphicFramePr>
        <p:xfrm>
          <a:off x="4462504" y="1272227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53668BB-7F38-3737-237A-F17BD70DCD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1601959"/>
              </p:ext>
            </p:extLst>
          </p:nvPr>
        </p:nvGraphicFramePr>
        <p:xfrm>
          <a:off x="4462504" y="3994750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1">
            <a:extLst>
              <a:ext uri="{FF2B5EF4-FFF2-40B4-BE49-F238E27FC236}">
                <a16:creationId xmlns:a16="http://schemas.microsoft.com/office/drawing/2014/main" id="{4618282E-6892-AE4E-D194-D73ED1E2FB0A}"/>
              </a:ext>
            </a:extLst>
          </p:cNvPr>
          <p:cNvSpPr txBox="1"/>
          <p:nvPr/>
        </p:nvSpPr>
        <p:spPr>
          <a:xfrm>
            <a:off x="4729812" y="1019343"/>
            <a:ext cx="3886183" cy="262902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marL="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rinos grupa proizvoda međugodišnjoj inflaciji, u pp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2DCCAADE-6FB2-086C-C7D3-7582C61A3F23}"/>
              </a:ext>
            </a:extLst>
          </p:cNvPr>
          <p:cNvSpPr txBox="1"/>
          <p:nvPr/>
        </p:nvSpPr>
        <p:spPr>
          <a:xfrm>
            <a:off x="5105409" y="3729251"/>
            <a:ext cx="3428991" cy="22860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tanje cena nafte od početka 2026. godine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9A46B2-6D63-57DF-3CDE-7C4FC95BB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kur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001179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9331" y="1266362"/>
            <a:ext cx="4038600" cy="5334000"/>
          </a:xfrm>
        </p:spPr>
        <p:txBody>
          <a:bodyPr>
            <a:normAutofit fontScale="92500" lnSpcReduction="10000"/>
          </a:bodyPr>
          <a:lstStyle/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ominalni  kurs dinara je tokom 2025. ostao približno fiskan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nominalna deprecijacija je iznosila 0,2%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tabilnost kursa je ostvarena velikim intervencijama NBS na deviznom tržištu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 periodu jan-maj  prodato je  milijardu evr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 periodu jun-septembar kupljeno je  1,4 mlrd evr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u Q4 prodato je milijardu evra</a:t>
            </a:r>
          </a:p>
          <a:p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eto prodaja u 2025. iznosila je 580 miliona evra, a u prva dva meseca ove godine 810 miliona evra</a:t>
            </a:r>
          </a:p>
          <a:p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ajvažniji izvor manje ponude dinara u odnosu na tražnju je pad priliva SDI, koje u prošloj godine nisu bile dovoljne da pokriju deficit tekućeg računa</a:t>
            </a:r>
          </a:p>
          <a:p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Ovo je verovatno trajniji trend koji će značajno uticati na monetarnu politiku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monetarne politika je od 2000. kroz kupovinu deviza kreirala dinare, sa sada ih prodajom povlači</a:t>
            </a:r>
          </a:p>
          <a:p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Realni kurs dinara je u prošloj godini ostao skoro nepromenjen 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0800-0000020000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440541494"/>
              </p:ext>
            </p:extLst>
          </p:nvPr>
        </p:nvGraphicFramePr>
        <p:xfrm>
          <a:off x="4441890" y="1291893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1"/>
          <p:cNvSpPr txBox="1"/>
          <p:nvPr/>
        </p:nvSpPr>
        <p:spPr>
          <a:xfrm>
            <a:off x="5036880" y="1029000"/>
            <a:ext cx="35433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inaln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ar/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ro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k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eca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9025" y="4056966"/>
            <a:ext cx="4420800" cy="2361600"/>
          </a:xfrm>
          <a:prstGeom prst="rect">
            <a:avLst/>
          </a:prstGeom>
          <a:noFill/>
          <a:ln w="6350">
            <a:solidFill>
              <a:schemeClr val="dk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4576583" y="3794863"/>
            <a:ext cx="4953000" cy="276999"/>
          </a:xfrm>
          <a:prstGeom prst="rect">
            <a:avLst/>
          </a:prstGeom>
        </p:spPr>
        <p:txBody>
          <a:bodyPr wrap="square" rtlCol="0"/>
          <a:lstStyle/>
          <a:p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krivenost deficita tekućeg računa prilivom SDI, 2015-2025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6DCB002-507D-7048-F6F4-0FE95ADC4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kur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3927829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528487"/>
            <a:ext cx="4038600" cy="4858463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Fiskalni deficit u Srbiji je u 2025. iznosio  2,4% BDP-a, što je manje od plana i manje od proseka zemalja EU i CIE (4,2% BDP)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Javni prihodi su ostvarili visok realni rast od 4,2%, što je duplo brže od rasta BDP-a  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poslednjem kvartalu rast javnih prihoda je ubrzan (9%), usled visokog rast zarada i prodaje licence za 5G mrežu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alni rashodi su povećani za 5%,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ok su rashodi u Q4 rasli slično kao i u prethodnom delu godine (4,7%)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januaru 2026. ostvaren je relativno visok fiskalni defcicit od 41,7 mlrd dinara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ihodi su umereno rasli 3,7% realno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hodi su značajno ubrzali rast (24,6%) prvenstveno usled rasta kapitalnih rashoda za 246,8% (rafali),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ali i tekući rashodi imaju visok rast od 7,4%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5147" y="1322451"/>
            <a:ext cx="4420800" cy="2361600"/>
          </a:xfrm>
          <a:prstGeom prst="rect">
            <a:avLst/>
          </a:prstGeom>
          <a:noFill/>
          <a:ln w="6350">
            <a:solidFill>
              <a:schemeClr val="dk1"/>
            </a:solidFill>
          </a:ln>
        </p:spPr>
      </p:pic>
      <p:sp>
        <p:nvSpPr>
          <p:cNvPr id="7" name="TextBox 1"/>
          <p:cNvSpPr txBox="1"/>
          <p:nvPr/>
        </p:nvSpPr>
        <p:spPr>
          <a:xfrm>
            <a:off x="5733334" y="1038609"/>
            <a:ext cx="1905000" cy="2628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an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% BDP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747" y="4085433"/>
            <a:ext cx="4417200" cy="2361600"/>
          </a:xfrm>
          <a:prstGeom prst="rect">
            <a:avLst/>
          </a:prstGeom>
          <a:noFill/>
          <a:ln w="6350">
            <a:solidFill>
              <a:schemeClr val="dk1"/>
            </a:solidFill>
          </a:ln>
        </p:spPr>
      </p:pic>
      <p:sp>
        <p:nvSpPr>
          <p:cNvPr id="9" name="TextBox 1"/>
          <p:cNvSpPr txBox="1"/>
          <p:nvPr/>
        </p:nvSpPr>
        <p:spPr>
          <a:xfrm>
            <a:off x="5205023" y="3830005"/>
            <a:ext cx="3565998" cy="25542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olidovan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hod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hod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o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 BDP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8747B23-98A5-2E99-E6DF-EC17C0DA871A}"/>
              </a:ext>
            </a:extLst>
          </p:cNvPr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9851510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590240"/>
            <a:ext cx="4038600" cy="4525963"/>
          </a:xfrm>
        </p:spPr>
        <p:txBody>
          <a:bodyPr>
            <a:normAutofit fontScale="62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 visok realni rast javnih prihoda u 2025. najviše su uticali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rezi na dohodak i doprinosi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znatno manje porezi na potrošnju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ihodi od poreza na dobit su opali uz visoke oscilacije u toku godine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rže od plana su rasli porezi na dohodak i doprinosi, ostali prihodi sporije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 strani rashoda prednjači rast plata, penzija i rashoda za robe i usluge, dok su kapitalni rashodi opali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rže od plana su rasle plate i subvencije, penzije po planu, ostali rashodi sporije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1278122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5279073" y="1004143"/>
            <a:ext cx="29883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 rast javnih prihoda, međugod. u %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4066723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5334000" y="3789724"/>
            <a:ext cx="3031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ni rast javnih rashoda, međugod. u %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0697DE9-A24E-CD55-926C-61534B6AE26A}"/>
              </a:ext>
            </a:extLst>
          </p:cNvPr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534023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2511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229600" cy="850106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noProof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držaj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77565"/>
            <a:ext cx="8229600" cy="4525963"/>
          </a:xfrm>
        </p:spPr>
        <p:txBody>
          <a:bodyPr>
            <a:normAutofit/>
          </a:bodyPr>
          <a:lstStyle/>
          <a:p>
            <a:endParaRPr lang="sr-Latn-R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latin typeface="Arial" panose="020B0604020202020204" pitchFamily="34" charset="0"/>
                <a:cs typeface="Arial" panose="020B0604020202020204" pitchFamily="34" charset="0"/>
              </a:rPr>
              <a:t>Prof. Milojko Arsić:</a:t>
            </a:r>
          </a:p>
          <a:p>
            <a:pPr lvl="1"/>
            <a:r>
              <a:rPr lang="sr-Latn-RS" sz="2000" dirty="0">
                <a:latin typeface="Arial" panose="020B0604020202020204" pitchFamily="34" charset="0"/>
                <a:cs typeface="Arial" panose="020B0604020202020204" pitchFamily="34" charset="0"/>
              </a:rPr>
              <a:t>Noviji makroekonomski trendovi</a:t>
            </a:r>
          </a:p>
          <a:p>
            <a:pPr lvl="1"/>
            <a:r>
              <a:rPr lang="sr-Latn-RS" sz="2000" dirty="0">
                <a:latin typeface="Arial" panose="020B0604020202020204" pitchFamily="34" charset="0"/>
                <a:cs typeface="Arial" panose="020B0604020202020204" pitchFamily="34" charset="0"/>
              </a:rPr>
              <a:t>Ekonomska politika i reforme</a:t>
            </a:r>
          </a:p>
          <a:p>
            <a:pPr marL="457200" lvl="1" indent="0">
              <a:buNone/>
            </a:pPr>
            <a:endParaRPr lang="sr-Latn-R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2401" y="1403350"/>
            <a:ext cx="4038600" cy="4953000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Javni dug je u toku 2025. povećan za 580 miliona evra, pa je krajem godine iznosio 39,3 mlrd evr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 kraju 2025. godine javni dug je bio na nivou od 44,4% BDP-a – za 2,3 pp. manje u odnosu na kraj 2024.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većanje javnog duga u prošloj godini (580 miliona evra) je bilo znatno manje od fiskalnog deficita (2,2 mlrd evra) usled trošenja depozita koji su stvoreni ranijim zaduživanjem 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Jačanje dinara u odnosu na USD je uticalo na smanjenje javnog duga za 540 miliona evra 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rbija je u 2024. godini imala rashode za kamate od 1,9% BDP 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hodi za kamate su relativno visoki u odnosu na nivo javnog duga u Srbiji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029" y="1285613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7" name="TextBox 1"/>
          <p:cNvSpPr txBox="1"/>
          <p:nvPr/>
        </p:nvSpPr>
        <p:spPr>
          <a:xfrm>
            <a:off x="5573486" y="1014330"/>
            <a:ext cx="2191378" cy="25356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amika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nog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ga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rbije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0819126"/>
              </p:ext>
            </p:extLst>
          </p:nvPr>
        </p:nvGraphicFramePr>
        <p:xfrm>
          <a:off x="4474029" y="4058541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B3E8E510-1ED0-3F82-7518-214495A3F2CC}"/>
              </a:ext>
            </a:extLst>
          </p:cNvPr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</a:t>
            </a:r>
            <a:endParaRPr lang="en-GB" sz="2800" dirty="0"/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B2BBE8D5-8060-E3DD-E099-421725FFB703}"/>
              </a:ext>
            </a:extLst>
          </p:cNvPr>
          <p:cNvSpPr txBox="1"/>
          <p:nvPr/>
        </p:nvSpPr>
        <p:spPr>
          <a:xfrm>
            <a:off x="5410200" y="3786731"/>
            <a:ext cx="3048000" cy="30995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hod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at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 2024.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ini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% BDP</a:t>
            </a:r>
          </a:p>
        </p:txBody>
      </p:sp>
    </p:spTree>
    <p:extLst>
      <p:ext uri="{BB962C8B-B14F-4D97-AF65-F5344CB8AC3E}">
        <p14:creationId xmlns:p14="http://schemas.microsoft.com/office/powerpoint/2010/main" val="18452977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7620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alni tokovi i politika u 2026. godini</a:t>
            </a:r>
            <a:endParaRPr lang="en-GB" sz="2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>
            <a:normAutofit/>
          </a:bodyPr>
          <a:lstStyle/>
          <a:p>
            <a:r>
              <a:rPr lang="sr-Latn-RS" sz="2000" dirty="0">
                <a:latin typeface="Arial" panose="020B0604020202020204" pitchFamily="34" charset="0"/>
                <a:cs typeface="Arial" panose="020B0604020202020204" pitchFamily="34" charset="0"/>
              </a:rPr>
              <a:t>Fiskalnom politikom za ovu godinu planiran je deficit od 3% BDP-a, što je održivo </a:t>
            </a:r>
          </a:p>
          <a:p>
            <a:endParaRPr lang="sr-Latn-R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000" dirty="0">
                <a:latin typeface="Arial" panose="020B0604020202020204" pitchFamily="34" charset="0"/>
                <a:cs typeface="Arial" panose="020B0604020202020204" pitchFamily="34" charset="0"/>
              </a:rPr>
              <a:t>Od tada su se promenile važne okolnosti koje bi mogle da utiču na povećanje fiskalnog deficita </a:t>
            </a:r>
          </a:p>
          <a:p>
            <a:pPr lvl="1"/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vlada je smanjila akcize za 60% što će dovesti do značajnog pada prihoda i rasta deficita, ako mera bude primenjivana u dužem periodu </a:t>
            </a:r>
          </a:p>
          <a:p>
            <a:pPr lvl="2"/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država je zahtevala od budžetskih korisnika da smanje rashode – nije izvesno koliko će se uštedeti po ovom osnovu</a:t>
            </a:r>
          </a:p>
          <a:p>
            <a:pPr lvl="1"/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moguće je da rast privrede bude sporiji, prihodi manji, što utiče na rast deficita   </a:t>
            </a:r>
          </a:p>
          <a:p>
            <a:pPr lvl="1"/>
            <a:r>
              <a:rPr lang="sr-Latn-RS" sz="1800" dirty="0">
                <a:latin typeface="Arial" panose="020B0604020202020204" pitchFamily="34" charset="0"/>
                <a:cs typeface="Arial" panose="020B0604020202020204" pitchFamily="34" charset="0"/>
              </a:rPr>
              <a:t>na osnovu dosadašnjeg iskustva eventualno održavanje izbora bi povećalo državne rahode, a time i deficit</a:t>
            </a: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944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465" y="1518529"/>
            <a:ext cx="4038600" cy="4525963"/>
          </a:xfrm>
        </p:spPr>
        <p:txBody>
          <a:bodyPr>
            <a:normAutofit fontScale="47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BS nije menjala referetnu kamatnu stopu od septembra 2024. godine</a:t>
            </a: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vakva politika je opravdana jer je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azna inflacija visok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velika nestabilnost na svetskom tržištu energenat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Visoke kamate ublažavaju sekundarne efekte  rasta cena energenat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ako cene energenta ostanu duže na visokom, nivou, nije isljučeno povećanje referentnih kamatnih stopa, kako bi se suzbio rast inflacionih očekivanja	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Centralne banke u Evropi vodile su različitu politiku u zavisnosi od visine inflacije i ukupnog stanja privrede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BS je učestalim initervencijama na deviznom tržištu držala kurs dinara prema evru na skoro fiksnom niovu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iće potrebno preispitivanje modela monetarne politike zasnovane na fiksnom kursu, ako se u narednom periodu Srbija suoči sa trajnim viškom tražnje u odnosu na ponudu deviza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22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0700-00003FA4060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42082253"/>
              </p:ext>
            </p:extLst>
          </p:nvPr>
        </p:nvGraphicFramePr>
        <p:xfrm>
          <a:off x="4463143" y="1284190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701D419-E0E7-6DD0-50A5-D5D55C031A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4810952"/>
              </p:ext>
            </p:extLst>
          </p:nvPr>
        </p:nvGraphicFramePr>
        <p:xfrm>
          <a:off x="4463143" y="4077000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8987C6FE-B8B6-3D2D-295C-7F36F9DA1972}"/>
              </a:ext>
            </a:extLst>
          </p:cNvPr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tarna politika</a:t>
            </a:r>
            <a:endParaRPr lang="en-GB" sz="2800" dirty="0"/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3BC519C1-B9D8-74C4-49AF-4096E98DD629}"/>
              </a:ext>
            </a:extLst>
          </p:cNvPr>
          <p:cNvSpPr txBox="1"/>
          <p:nvPr/>
        </p:nvSpPr>
        <p:spPr>
          <a:xfrm>
            <a:off x="5501923" y="1017498"/>
            <a:ext cx="2656114" cy="25356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 i referentna stopa NBS </a:t>
            </a:r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EB0506B7-8A5E-4058-A6A8-FE285F18B7B4}"/>
              </a:ext>
            </a:extLst>
          </p:cNvPr>
          <p:cNvSpPr txBox="1"/>
          <p:nvPr/>
        </p:nvSpPr>
        <p:spPr>
          <a:xfrm>
            <a:off x="4648202" y="3781511"/>
            <a:ext cx="4303868" cy="25356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te kamatne stope evropskih centralnih banaka, u %</a:t>
            </a:r>
          </a:p>
        </p:txBody>
      </p:sp>
    </p:spTree>
    <p:extLst>
      <p:ext uri="{BB962C8B-B14F-4D97-AF65-F5344CB8AC3E}">
        <p14:creationId xmlns:p14="http://schemas.microsoft.com/office/powerpoint/2010/main" val="24834093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038600" cy="4525963"/>
          </a:xfrm>
        </p:spPr>
        <p:txBody>
          <a:bodyPr>
            <a:normAutofit fontScale="62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Međugodišnji nominalni rast novčane mase M2 zabeležio je izrazito usporavanje u Q4 2025. godine, padajući na 6,5% sa 10,5% u prethodnom kvartalu, što predstavlja najnižu stopu rasta od sredine 2022. godine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Kreditiranje privatnog sektora je snažno ubrzano tokom 2025.g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krediti  stanovništvu su povećani za 2,7 mlrd evra, a privredi za 1,7 mlrd evra, privreda se zadužila za 1,5 mlrd evra u inostranstvu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anke su smanjile plasmane u REPO papire za 0,9 mlrd evra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alna vrednost  kredita stanovništvu je povećana za 16,5%, a privredi za 9%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1310749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5261698" y="1066046"/>
            <a:ext cx="3033029" cy="24529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dnos novčane mase prema BDP, u %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4047013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4D106CE-20AF-1035-B5C6-BB742C52778F}"/>
              </a:ext>
            </a:extLst>
          </p:cNvPr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ditna aktivnost banaka i novčana masa</a:t>
            </a:r>
            <a:endParaRPr lang="en-GB" sz="2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2EA4D5-2929-AE0A-8CF4-62EFC89CF503}"/>
              </a:ext>
            </a:extLst>
          </p:cNvPr>
          <p:cNvSpPr txBox="1"/>
          <p:nvPr/>
        </p:nvSpPr>
        <p:spPr>
          <a:xfrm>
            <a:off x="4860794" y="3740532"/>
            <a:ext cx="4038600" cy="24529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rast novih kredita privrede i stanovništva, 2005-2025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879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13448"/>
            <a:ext cx="4038600" cy="4525963"/>
          </a:xfrm>
        </p:spPr>
        <p:txBody>
          <a:bodyPr>
            <a:normAutofit fontScale="62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alne kamatne stope na dinarske kredite su fluktuirale u prva tri kvartala, a u četvtom su povećane usled naglog smanjenja inflacije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Kamatne stope na indeksirane kredit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blago opadaju kamate za investicije,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kod  stambenih kredita i kredita za obrtna sredstva kamate stagniraju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Velika neizvesnost usled rata na Bliskom istoku odložiće smanjenje kamatnih stopa CB, a nije isključen ni njihov rast ukoliko se inflacija znatnije poveća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3349" y="4038600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4934533" y="3787188"/>
            <a:ext cx="3657600" cy="261107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dirty="0"/>
              <a:t>Realne kamatne stope na indeskirane kredite, u %</a:t>
            </a:r>
            <a:endParaRPr lang="en-US" dirty="0"/>
          </a:p>
        </p:txBody>
      </p: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3349" y="1315167"/>
            <a:ext cx="4420800" cy="23616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5029200" y="1066800"/>
            <a:ext cx="3468267" cy="402638"/>
          </a:xfrm>
          <a:prstGeom prst="rect">
            <a:avLst/>
          </a:prstGeom>
        </p:spPr>
        <p:txBody>
          <a:bodyPr wrap="square" rtlCol="0"/>
          <a:lstStyle>
            <a:defPPr>
              <a:defRPr lang="en-US"/>
            </a:defPPr>
            <a:lvl1pPr indent="0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sr-Latn-R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alne kamatne stope na dinarske kredite, u %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0EA2315-08B6-26BA-9770-A4129E3F369E}"/>
              </a:ext>
            </a:extLst>
          </p:cNvPr>
          <p:cNvSpPr txBox="1">
            <a:spLocks/>
          </p:cNvSpPr>
          <p:nvPr/>
        </p:nvSpPr>
        <p:spPr>
          <a:xfrm>
            <a:off x="2286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atne stope na kredite banaka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1599410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633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8343" y="4967846"/>
            <a:ext cx="7772400" cy="1470025"/>
          </a:xfrm>
        </p:spPr>
        <p:txBody>
          <a:bodyPr vert="horz"/>
          <a:lstStyle/>
          <a:p>
            <a:r>
              <a:rPr lang="sr-Latn-RS" noProof="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cija QM83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r="66043"/>
          <a:stretch/>
        </p:blipFill>
        <p:spPr>
          <a:xfrm>
            <a:off x="4267200" y="6035740"/>
            <a:ext cx="1085681" cy="6159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457198"/>
            <a:ext cx="1778943" cy="492197"/>
          </a:xfrm>
          <a:prstGeom prst="rect">
            <a:avLst/>
          </a:prstGeom>
        </p:spPr>
      </p:pic>
      <p:pic>
        <p:nvPicPr>
          <p:cNvPr id="7" name="Picture 6" descr="Ekof logo - bela pozadina horizontalno, latinica.png"/>
          <p:cNvPicPr/>
          <p:nvPr/>
        </p:nvPicPr>
        <p:blipFill>
          <a:blip r:embed="rId7" cstate="print">
            <a:lum bright="70000" contrast="-70000"/>
          </a:blip>
          <a:stretch>
            <a:fillRect/>
          </a:stretch>
        </p:blipFill>
        <p:spPr>
          <a:xfrm>
            <a:off x="286055" y="335791"/>
            <a:ext cx="3289778" cy="735013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559742" y="1129820"/>
            <a:ext cx="8229600" cy="3657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r-Latn-R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5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sr-Latn-RS" sz="5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vala na pažnji!</a:t>
            </a:r>
          </a:p>
        </p:txBody>
      </p:sp>
    </p:spTree>
    <p:extLst>
      <p:ext uri="{BB962C8B-B14F-4D97-AF65-F5344CB8AC3E}">
        <p14:creationId xmlns:p14="http://schemas.microsoft.com/office/powerpoint/2010/main" val="3744351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89717"/>
            <a:ext cx="8229600" cy="5527200"/>
          </a:xfrm>
        </p:spPr>
        <p:txBody>
          <a:bodyPr>
            <a:normAutofit fontScale="92500"/>
          </a:bodyPr>
          <a:lstStyle/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Rezultati privrede Srbije u 2025. i na početku ove godine su mešoviti</a:t>
            </a:r>
            <a:b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rivredna aktivnost u 2025. je prepolovljena u odnosu na prethodne godine i u odnosu na plan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BDP je povećan za 2% što je ispod proseka CIE,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zaposlenost je blago opala, nezaposlenost porasl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strane direktne investicije su prepovljene u odnosu na višegodišnji prosek</a:t>
            </a:r>
            <a:b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goršanje performansi privrede je delom posledica kretanja u međunarodnom okruženju: deglobalizacije, pogoršanja stanja u evropskim privredama, rat na Bliskom istoku 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... ali i unutrašnjih problem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strukturnih problema privrede Srbije (rast troškova poslovanja, sektori nosioci rasta usporavaju)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politička kriza </a:t>
            </a:r>
            <a:b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a pogoršanje stanja privrede su uticali privremeni faktori: suša, sankcije NIS-u</a:t>
            </a:r>
            <a:b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Makroekonomska stabilnost se održava 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inflacija je u okviru ciljnog koridora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fiskalni deficit je nizak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deficit u tekućem bilansu je umereno visok </a:t>
            </a:r>
            <a:b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a početku 2026.g. privreda je izložena snažnim poremećajima na tržištu energenata u svetu usled rata na Bliskom istoku, a stupili su na snagu porezi na ugljenik na izvoz u EU</a:t>
            </a:r>
            <a:b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Rat na Bliskom istoku će uticati na povećanje inflacije, usporavanje rasta privredne aktivnosti, pogoršanje trgovinskog bilansa i rast fiskalnog deficita 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negativne posledice će biti snažnije ukoliko rat bude duže trajao i ukoliko se znatnije ošteti energetska infrastruktura 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F95A5D2-9487-AE2F-64C5-A60B0BF3A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-76200"/>
            <a:ext cx="6553200" cy="1143000"/>
          </a:xfrm>
        </p:spPr>
        <p:txBody>
          <a:bodyPr vert="horz">
            <a:norm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novni makroekonomski trendovi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340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575426"/>
            <a:ext cx="4038600" cy="4525963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 BDP-a u 2025. je približno prepolovljen kako u odnosu na prethodnu godinu tako i u odnosu na plan: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 BDP-a iznosio je 2%,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poslednjih 10 godina samo je u 2020. godini rast bio niži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poriji od proseka CIE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sporavanje rasta je delom posledica međunarodnih faktor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manjenja mobilnosti kapitala,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por rast EU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...  ali i unutrašnjih faktor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istrošenosti modela rasta (sektori nosioci rasta usporavaju, rast troškova rada)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litičke krize (rizik odvraća investitore, utiče na odlaganje potrošnje) 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Jednokratnih faktor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uša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ankcije NIS-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84313464"/>
              </p:ext>
            </p:extLst>
          </p:nvPr>
        </p:nvGraphicFramePr>
        <p:xfrm>
          <a:off x="4419600" y="1364024"/>
          <a:ext cx="44196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8668947"/>
              </p:ext>
            </p:extLst>
          </p:nvPr>
        </p:nvGraphicFramePr>
        <p:xfrm>
          <a:off x="4419600" y="4115400"/>
          <a:ext cx="44196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7"/>
          <p:cNvSpPr/>
          <p:nvPr/>
        </p:nvSpPr>
        <p:spPr>
          <a:xfrm>
            <a:off x="4925733" y="1037817"/>
            <a:ext cx="3102533" cy="27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zoniran</a:t>
            </a: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kretanje 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DP-a, (2008=100)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D942C8C-3182-A2F3-762F-58F7B2E6B6EB}"/>
              </a:ext>
            </a:extLst>
          </p:cNvPr>
          <p:cNvSpPr txBox="1">
            <a:spLocks/>
          </p:cNvSpPr>
          <p:nvPr/>
        </p:nvSpPr>
        <p:spPr>
          <a:xfrm>
            <a:off x="152400" y="-76200"/>
            <a:ext cx="7391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D11E2E-2395-66D6-36AD-FA2B6A3081DF}"/>
              </a:ext>
            </a:extLst>
          </p:cNvPr>
          <p:cNvSpPr/>
          <p:nvPr/>
        </p:nvSpPr>
        <p:spPr>
          <a:xfrm>
            <a:off x="5181600" y="3838408"/>
            <a:ext cx="3102533" cy="27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BDP-a u 2025. godini, u %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179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2976" y="1709338"/>
            <a:ext cx="4038600" cy="4525963"/>
          </a:xfrm>
        </p:spPr>
        <p:txBody>
          <a:bodyPr>
            <a:normAutofit fontScale="550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Iznadprosečan rast u 2025. godini ostvarile su: IT, finansijske usluge i ostale delatnosti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zitivan, ali spor rast: industrija i trgovina, dok su gradjevinarstvo i poljoprivreda imali pad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Q4 industrija snažno opada (NIS), dok gradjevinarstvo ima visok rast (?)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a stanovišta tražnje glavni nosilac rasta su privatna i državna tekuća potrošnja (visok rast plata i penzija), doprinos investicija je skroman, dok je doprinos neto izvoza negativan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vakva struktura pokretača rasta je prihvatljiva u periodu kriza, ali nije dugoročno održiva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3299061"/>
              </p:ext>
            </p:extLst>
          </p:nvPr>
        </p:nvGraphicFramePr>
        <p:xfrm>
          <a:off x="4495800" y="1385517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7888686"/>
              </p:ext>
            </p:extLst>
          </p:nvPr>
        </p:nvGraphicFramePr>
        <p:xfrm>
          <a:off x="4495800" y="4115400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F648E2B2-A6DF-6390-636A-23265035F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-76200"/>
            <a:ext cx="8229600" cy="1143000"/>
          </a:xfrm>
        </p:spPr>
        <p:txBody>
          <a:bodyPr vert="horz">
            <a:no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7A7AC3-9691-BD24-1542-7D69106358EC}"/>
              </a:ext>
            </a:extLst>
          </p:cNvPr>
          <p:cNvSpPr/>
          <p:nvPr/>
        </p:nvSpPr>
        <p:spPr>
          <a:xfrm>
            <a:off x="5116233" y="1097640"/>
            <a:ext cx="3102533" cy="276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BDP-a po delatnostima u 2025. godin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9EDF91-CBEB-4917-3524-E21CC7EC74DC}"/>
              </a:ext>
            </a:extLst>
          </p:cNvPr>
          <p:cNvSpPr/>
          <p:nvPr/>
        </p:nvSpPr>
        <p:spPr>
          <a:xfrm>
            <a:off x="5116233" y="3829240"/>
            <a:ext cx="3366655" cy="2861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n-N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BDP</a:t>
            </a: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a</a:t>
            </a:r>
            <a:r>
              <a:rPr lang="nn-N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komponenti tražnje u 2025., u % </a:t>
            </a:r>
          </a:p>
        </p:txBody>
      </p:sp>
    </p:spTree>
    <p:extLst>
      <p:ext uri="{BB962C8B-B14F-4D97-AF65-F5344CB8AC3E}">
        <p14:creationId xmlns:p14="http://schemas.microsoft.com/office/powerpoint/2010/main" val="1169412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090" y="1696874"/>
            <a:ext cx="4038600" cy="4525963"/>
          </a:xfrm>
        </p:spPr>
        <p:txBody>
          <a:bodyPr>
            <a:normAutofit/>
          </a:bodyPr>
          <a:lstStyle/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Industrijska proizvodnja u 2025. je ostvarila minimalan rast (stagnacija), a u Q4 pad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a pad u Q4 uticale su sankcije NIS-u i zatvaranje preduzeća u oblasti tekstilne  i elektroindustrije</a:t>
            </a:r>
          </a:p>
          <a:p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osmatrano po sektorima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rudarstvo je ostvarilo visok rast, ali sporiji nego prethodnih godina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elektroprivreda pad (suša) </a:t>
            </a:r>
          </a:p>
          <a:p>
            <a:pPr lvl="1"/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ređivačka industrija je stagnirala u prva tri kvartala, a u Q4 ostvarila znatan pad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148717377"/>
              </p:ext>
            </p:extLst>
          </p:nvPr>
        </p:nvGraphicFramePr>
        <p:xfrm>
          <a:off x="4522800" y="1370332"/>
          <a:ext cx="4420800" cy="23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ectangle 8"/>
          <p:cNvSpPr/>
          <p:nvPr/>
        </p:nvSpPr>
        <p:spPr>
          <a:xfrm>
            <a:off x="4406153" y="11116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zonirani indeksi industrijske proizvodnje, 2008.=100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5397643"/>
              </p:ext>
            </p:extLst>
          </p:nvPr>
        </p:nvGraphicFramePr>
        <p:xfrm>
          <a:off x="4514779" y="4062261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CDF53927-1F0A-92D2-F879-DDC87B766011}"/>
              </a:ext>
            </a:extLst>
          </p:cNvPr>
          <p:cNvSpPr txBox="1">
            <a:spLocks/>
          </p:cNvSpPr>
          <p:nvPr/>
        </p:nvSpPr>
        <p:spPr>
          <a:xfrm>
            <a:off x="152400" y="-762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redna aktivnost – kratkoročni trendovi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25B915-9D8D-19D8-A42E-5EE5A53570CD}"/>
              </a:ext>
            </a:extLst>
          </p:cNvPr>
          <p:cNvSpPr/>
          <p:nvPr/>
        </p:nvSpPr>
        <p:spPr>
          <a:xfrm>
            <a:off x="4514779" y="382135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industrijske proizvodnje po sektorima, u %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930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066800" y="-762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ktive privrednog rasta Srbije</a:t>
            </a:r>
            <a:endParaRPr lang="en-GB" sz="2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82443"/>
            <a:ext cx="8229600" cy="5337562"/>
          </a:xfrm>
        </p:spPr>
        <p:txBody>
          <a:bodyPr>
            <a:normAutofit fontScale="47500" lnSpcReduction="20000"/>
          </a:bodyPr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erspektive za rast 2026. godine su pogoršan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 cena energenata (nafte i gasa) povećava troškove poslovanja što usporava rast privrede, a zadržavanje cena na visokom nivou može da dovede do recesij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vođenje poreza na ugljenik pri izvozu u EU nepovoljno utiče na elektroprivredu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ije izvesno da li će NIS biti prodat ili će ponovo biti uvedene sankcije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osečna poljoprivredna sezona bi doprinela rastu BDP-a za oko 0,3 pp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eovlađuju rizici u odnosu na povoljne okolnosti zbog čega je veća verovatnoća da će rast BDP-a u ovoj godini biti manji od plana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ivreda Srbije se suočava sa strukturnim problemima koji sugerišu da je neophodno da se promeni model rast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manjenje SDI verovatno će se produžiti na nekoliko godina, što smanjuje ukupne investicije,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ektori nosioci rasta u prethodnim godinama u 2025. usporavaju (rudarstvo  i IT) ili opadaju (građevinarstvo)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 sektorima sa niskom dodatnom vrednošću smanjuje se aktivnost (automobilski kablovi, tekstilna industrija, neke usluge)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omena modela rasta podrazumev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napredjenje kvaliteta institucija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veće oslanjanje na domaće investicije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st učešća visoko tehnoloških sektora u privredi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z sadašnji model rasta verovatno je usporavanje privrede u narednim godinama, postoji rizik da uđemo u zamku srednjeg nivoa razvijenosti </a:t>
            </a:r>
          </a:p>
          <a:p>
            <a:pPr lvl="1"/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708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5790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sr-Latn-R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gija 2030-2035.</a:t>
            </a:r>
            <a:endParaRPr lang="en-GB" sz="2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863247"/>
          </a:xfrm>
        </p:spPr>
        <p:txBody>
          <a:bodyPr>
            <a:normAutofit fontScale="47500" lnSpcReduction="20000"/>
          </a:bodyPr>
          <a:lstStyle/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čekivani makroekonomski rezultati (BDP, plate, penzije), su iskazani u tekućim evrima što je pogrešno jer se vrednost evra u Srbiji smanjuje iz godine u godinu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ezultati se mere promenjivim merilom?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Uz inflaciju od 3,5% i fiksni kurs prema evru, sledi da se očekuje realni rast BDP-a od 4,5% prosečno godišnje i realni rast zarada od 3,5% prosečno godišnje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ovo je moguće, ali teško ostvarivo uz postojeće politike i međunarodne okolnosti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lanirane su javne investicije od 63 milijarde evra u narednih 10 godina, od čega 15 milijardi za vojsku</a:t>
            </a:r>
            <a:b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Na osnovu dostupnih informacije planiraju se značajna ulaganja u saobraćajnu i komunalnu infrastrukturu, energetiku, zdravstvo, IT (posebno AI), poljoprivredu     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Strategija ne predviđa unapredjenje privrednog sistema, poboljašanje institucija, efikasniju selekciju i realizaciju projekata,  reforme javnih i komunalnih preduzeća,...</a:t>
            </a:r>
          </a:p>
          <a:p>
            <a:endParaRPr lang="sr-Latn-R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edvidjene su male investicije u obrazovanje,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ovećanje nastavnih sadržaja iz veštačke inteligencije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razvoj dualnog obrazovanja u srednjim školama </a:t>
            </a:r>
          </a:p>
          <a:p>
            <a:pPr lvl="1"/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primena Kazahstanskog modela unapređenja visokog obrazovanja (?!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953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76993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sr-Latn-RS" sz="2800" dirty="0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oslenost i zarade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503305"/>
            <a:ext cx="4038600" cy="5035607"/>
          </a:xfrm>
        </p:spPr>
        <p:txBody>
          <a:bodyPr>
            <a:normAutofit/>
          </a:bodyPr>
          <a:lstStyle/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Tokom 2025. stanje na tržištu rada je blago pogoršano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stopa zaposlenosti je smanjena </a:t>
            </a:r>
          </a:p>
          <a:p>
            <a:pPr lvl="1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stopa nezaposlenosti je povećana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ad zaposlenosti je koncentrisan u industriji, trgovini i drugim uslugama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ogoršanje stanja na tržištu rada je manje ciklične prirode, više je posledica strukturnih problema (odnos plata i produktivnosti)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Već nekoliko godina rast zaposlenosti u privatnom sektoru usporava, da bi krajem prošle godine počeo da opada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Usporavanje rasta broja zaposlenih uz relativno visoku stopu nezaposlenosti odražava neuskladjenost ponude i tražnje za radnom snagom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Pad zaposlenosti krajem prethodne godine je posledica nekonkurenosti nekih sektora privrede </a:t>
            </a:r>
          </a:p>
          <a:p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Zaposlenost u javnom sektoru stagnira ili opada</a:t>
            </a:r>
          </a:p>
          <a:p>
            <a:endParaRPr lang="sr-Latn-R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F574D-3BA4-4D96-967C-501494E42AC6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53B30B7-3EFE-47A5-A619-D4E34247835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87712593"/>
              </p:ext>
            </p:extLst>
          </p:nvPr>
        </p:nvGraphicFramePr>
        <p:xfrm>
          <a:off x="4508815" y="1357568"/>
          <a:ext cx="44208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0988123"/>
              </p:ext>
            </p:extLst>
          </p:nvPr>
        </p:nvGraphicFramePr>
        <p:xfrm>
          <a:off x="4527722" y="4077374"/>
          <a:ext cx="4420800" cy="236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53E6809-E245-A255-4C02-A6C720DF33BA}"/>
              </a:ext>
            </a:extLst>
          </p:cNvPr>
          <p:cNvSpPr/>
          <p:nvPr/>
        </p:nvSpPr>
        <p:spPr>
          <a:xfrm>
            <a:off x="4409018" y="1028454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Latn-R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tanje stope zaposlenosti i stope nezaposlenos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A5D2B5-4AB7-83EA-361C-2B73C9159747}"/>
              </a:ext>
            </a:extLst>
          </p:cNvPr>
          <p:cNvSpPr/>
          <p:nvPr/>
        </p:nvSpPr>
        <p:spPr>
          <a:xfrm>
            <a:off x="4433215" y="3800375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pl-P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đugodišnje promene broja zaposlenih, u %</a:t>
            </a:r>
          </a:p>
        </p:txBody>
      </p:sp>
    </p:spTree>
    <p:extLst>
      <p:ext uri="{BB962C8B-B14F-4D97-AF65-F5344CB8AC3E}">
        <p14:creationId xmlns:p14="http://schemas.microsoft.com/office/powerpoint/2010/main" val="3632670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007</TotalTime>
  <Words>3171</Words>
  <Application>Microsoft Macintosh PowerPoint</Application>
  <PresentationFormat>On-screen Show (4:3)</PresentationFormat>
  <Paragraphs>359</Paragraphs>
  <Slides>2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Arial</vt:lpstr>
      <vt:lpstr>Arial Narrow</vt:lpstr>
      <vt:lpstr>Calibri</vt:lpstr>
      <vt:lpstr>Office Theme</vt:lpstr>
      <vt:lpstr>think-cell Slide</vt:lpstr>
      <vt:lpstr>Prezentacija QM83</vt:lpstr>
      <vt:lpstr>Sadržaj</vt:lpstr>
      <vt:lpstr>Osnovni makroekonomski trendovi</vt:lpstr>
      <vt:lpstr>PowerPoint Presentation</vt:lpstr>
      <vt:lpstr>Privredna aktivnost – kratkoročni trendovi</vt:lpstr>
      <vt:lpstr>PowerPoint Presentation</vt:lpstr>
      <vt:lpstr>Perspektive privrednog rasta Srbije</vt:lpstr>
      <vt:lpstr>Stategija 2030-2035.</vt:lpstr>
      <vt:lpstr>Zaposlenost i zarade</vt:lpstr>
      <vt:lpstr>PowerPoint Presentation</vt:lpstr>
      <vt:lpstr>PowerPoint Presentation</vt:lpstr>
      <vt:lpstr>Spoljnoekonomski odnosi–tekuće transakcije</vt:lpstr>
      <vt:lpstr>Spoljnoekonomski odnosi–tekuće transakcije</vt:lpstr>
      <vt:lpstr>Spoljnoekonomski odnosi–kapitalne transakcije</vt:lpstr>
      <vt:lpstr>Inflacija i kurs</vt:lpstr>
      <vt:lpstr>Inflacija i kurs</vt:lpstr>
      <vt:lpstr>Inflacija i kurs</vt:lpstr>
      <vt:lpstr>PowerPoint Presentation</vt:lpstr>
      <vt:lpstr>PowerPoint Presentation</vt:lpstr>
      <vt:lpstr>PowerPoint Presentation</vt:lpstr>
      <vt:lpstr>Fiskalni tokovi i politika u 2026. godini</vt:lpstr>
      <vt:lpstr>PowerPoint Presentation</vt:lpstr>
      <vt:lpstr>PowerPoint Presentation</vt:lpstr>
      <vt:lpstr>PowerPoint Presentation</vt:lpstr>
      <vt:lpstr>Prezentacija QM83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nomske politike, makroekonomski trendovi i razvoj finansijskog sektora u Srbiji</dc:title>
  <dc:creator>Milojko Arsic</dc:creator>
  <cp:lastModifiedBy>Aleksandar Radivojevic</cp:lastModifiedBy>
  <cp:revision>3639</cp:revision>
  <cp:lastPrinted>2025-03-25T21:07:19Z</cp:lastPrinted>
  <dcterms:created xsi:type="dcterms:W3CDTF">2017-03-05T10:43:19Z</dcterms:created>
  <dcterms:modified xsi:type="dcterms:W3CDTF">2026-03-26T18:41:32Z</dcterms:modified>
</cp:coreProperties>
</file>